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3" r:id="rId5"/>
  </p:sldMasterIdLst>
  <p:notesMasterIdLst>
    <p:notesMasterId r:id="rId42"/>
  </p:notesMasterIdLst>
  <p:sldIdLst>
    <p:sldId id="256" r:id="rId6"/>
    <p:sldId id="327" r:id="rId7"/>
    <p:sldId id="300" r:id="rId8"/>
    <p:sldId id="280" r:id="rId9"/>
    <p:sldId id="281" r:id="rId10"/>
    <p:sldId id="298" r:id="rId11"/>
    <p:sldId id="299" r:id="rId12"/>
    <p:sldId id="289" r:id="rId13"/>
    <p:sldId id="290" r:id="rId14"/>
    <p:sldId id="291" r:id="rId15"/>
    <p:sldId id="292" r:id="rId16"/>
    <p:sldId id="296" r:id="rId17"/>
    <p:sldId id="293" r:id="rId18"/>
    <p:sldId id="297" r:id="rId19"/>
    <p:sldId id="301" r:id="rId20"/>
    <p:sldId id="302" r:id="rId21"/>
    <p:sldId id="303" r:id="rId22"/>
    <p:sldId id="309" r:id="rId23"/>
    <p:sldId id="306" r:id="rId24"/>
    <p:sldId id="311" r:id="rId25"/>
    <p:sldId id="310" r:id="rId26"/>
    <p:sldId id="312" r:id="rId27"/>
    <p:sldId id="313" r:id="rId28"/>
    <p:sldId id="314" r:id="rId29"/>
    <p:sldId id="315" r:id="rId30"/>
    <p:sldId id="316" r:id="rId31"/>
    <p:sldId id="317" r:id="rId32"/>
    <p:sldId id="323" r:id="rId33"/>
    <p:sldId id="324" r:id="rId34"/>
    <p:sldId id="325" r:id="rId35"/>
    <p:sldId id="318" r:id="rId36"/>
    <p:sldId id="320" r:id="rId37"/>
    <p:sldId id="322" r:id="rId38"/>
    <p:sldId id="321" r:id="rId39"/>
    <p:sldId id="319" r:id="rId40"/>
    <p:sldId id="326" r:id="rId41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00000"/>
    <a:srgbClr val="B34534"/>
    <a:srgbClr val="023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149B33-A73C-416B-A78F-8A511F9ABEA0}" v="6" dt="2023-11-24T14:03:09.372"/>
    <p1510:client id="{850AE295-D6A0-4311-BB4F-00B6C2E1D957}" v="1" dt="2023-11-10T11:40:02.791"/>
    <p1510:client id="{BEAF5439-8230-4B2C-DDB7-5FAE34A79663}" v="1" dt="2023-11-24T08:30:44.643"/>
    <p1510:client id="{D02A7755-5C67-48D4-AA01-EE3D249A2099}" v="1" dt="2023-11-23T21:17:16.630"/>
    <p1510:client id="{F4A960EA-7CB4-4F6A-8DFD-E7CEFC237E02}" v="20" dt="2023-11-23T16:29:57.6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noz Checa, Daniel" userId="S::daniel.munoz_checa_novartis.com#ext#@eurecatcloud.onmicrosoft.com::ba46def7-f75a-4517-9370-0e8b8ab4dd8a" providerId="AD" clId="Web-{80149B33-A73C-416B-A78F-8A511F9ABEA0}"/>
    <pc:docChg chg="modSld">
      <pc:chgData name="Munoz Checa, Daniel" userId="S::daniel.munoz_checa_novartis.com#ext#@eurecatcloud.onmicrosoft.com::ba46def7-f75a-4517-9370-0e8b8ab4dd8a" providerId="AD" clId="Web-{80149B33-A73C-416B-A78F-8A511F9ABEA0}" dt="2023-11-24T14:03:08.825" v="4" actId="20577"/>
      <pc:docMkLst>
        <pc:docMk/>
      </pc:docMkLst>
      <pc:sldChg chg="modSp">
        <pc:chgData name="Munoz Checa, Daniel" userId="S::daniel.munoz_checa_novartis.com#ext#@eurecatcloud.onmicrosoft.com::ba46def7-f75a-4517-9370-0e8b8ab4dd8a" providerId="AD" clId="Web-{80149B33-A73C-416B-A78F-8A511F9ABEA0}" dt="2023-11-24T14:03:08.825" v="4" actId="20577"/>
        <pc:sldMkLst>
          <pc:docMk/>
          <pc:sldMk cId="4030435540" sldId="291"/>
        </pc:sldMkLst>
        <pc:spChg chg="mod">
          <ac:chgData name="Munoz Checa, Daniel" userId="S::daniel.munoz_checa_novartis.com#ext#@eurecatcloud.onmicrosoft.com::ba46def7-f75a-4517-9370-0e8b8ab4dd8a" providerId="AD" clId="Web-{80149B33-A73C-416B-A78F-8A511F9ABEA0}" dt="2023-11-24T14:03:08.825" v="4" actId="20577"/>
          <ac:spMkLst>
            <pc:docMk/>
            <pc:sldMk cId="4030435540" sldId="291"/>
            <ac:spMk id="5" creationId="{668CA5FF-9755-07FC-4E86-3126D1F2C78E}"/>
          </ac:spMkLst>
        </pc:spChg>
      </pc:sldChg>
    </pc:docChg>
  </pc:docChgLst>
  <pc:docChgLst>
    <pc:chgData name="pavindrah26" userId="S::pavindrah26_gmail.com#ext#@eurecatcloud.onmicrosoft.com::50014ce0-de12-4314-9027-b620bc03682c" providerId="AD" clId="Web-{BEAF5439-8230-4B2C-DDB7-5FAE34A79663}"/>
    <pc:docChg chg="sldOrd">
      <pc:chgData name="pavindrah26" userId="S::pavindrah26_gmail.com#ext#@eurecatcloud.onmicrosoft.com::50014ce0-de12-4314-9027-b620bc03682c" providerId="AD" clId="Web-{BEAF5439-8230-4B2C-DDB7-5FAE34A79663}" dt="2023-11-24T08:30:44.643" v="0"/>
      <pc:docMkLst>
        <pc:docMk/>
      </pc:docMkLst>
      <pc:sldChg chg="ord">
        <pc:chgData name="pavindrah26" userId="S::pavindrah26_gmail.com#ext#@eurecatcloud.onmicrosoft.com::50014ce0-de12-4314-9027-b620bc03682c" providerId="AD" clId="Web-{BEAF5439-8230-4B2C-DDB7-5FAE34A79663}" dt="2023-11-24T08:30:44.643" v="0"/>
        <pc:sldMkLst>
          <pc:docMk/>
          <pc:sldMk cId="3201513925" sldId="299"/>
        </pc:sldMkLst>
      </pc:sldChg>
    </pc:docChg>
  </pc:docChgLst>
  <pc:docChgLst>
    <pc:chgData name="guim.casadella" userId="S::guim.casadella_gmail.com#ext#@eurecatcloud.onmicrosoft.com::1e0f6702-9646-430a-8c0b-66b29e8c41db" providerId="AD" clId="Web-{F4A960EA-7CB4-4F6A-8DFD-E7CEFC237E02}"/>
    <pc:docChg chg="addSld delSld">
      <pc:chgData name="guim.casadella" userId="S::guim.casadella_gmail.com#ext#@eurecatcloud.onmicrosoft.com::1e0f6702-9646-430a-8c0b-66b29e8c41db" providerId="AD" clId="Web-{F4A960EA-7CB4-4F6A-8DFD-E7CEFC237E02}" dt="2023-11-23T16:29:52.112" v="1"/>
      <pc:docMkLst>
        <pc:docMk/>
      </pc:docMkLst>
      <pc:sldChg chg="add del">
        <pc:chgData name="guim.casadella" userId="S::guim.casadella_gmail.com#ext#@eurecatcloud.onmicrosoft.com::1e0f6702-9646-430a-8c0b-66b29e8c41db" providerId="AD" clId="Web-{F4A960EA-7CB4-4F6A-8DFD-E7CEFC237E02}" dt="2023-11-23T16:29:52.112" v="1"/>
        <pc:sldMkLst>
          <pc:docMk/>
          <pc:sldMk cId="376610612" sldId="280"/>
        </pc:sldMkLst>
      </pc:sldChg>
    </pc:docChg>
  </pc:docChgLst>
  <pc:docChgLst>
    <pc:chgData name="Miguel Díaz Benito" userId="S::miguel.diazbenito_estudiante.uam.es#ext#@eurecatcloud.onmicrosoft.com::bf8edb2c-c0ba-4081-b908-7319b09d3b61" providerId="AD" clId="Web-{D02A7755-5C67-48D4-AA01-EE3D249A2099}"/>
    <pc:docChg chg="sldOrd">
      <pc:chgData name="Miguel Díaz Benito" userId="S::miguel.diazbenito_estudiante.uam.es#ext#@eurecatcloud.onmicrosoft.com::bf8edb2c-c0ba-4081-b908-7319b09d3b61" providerId="AD" clId="Web-{D02A7755-5C67-48D4-AA01-EE3D249A2099}" dt="2023-11-23T21:17:16.630" v="0"/>
      <pc:docMkLst>
        <pc:docMk/>
      </pc:docMkLst>
      <pc:sldChg chg="ord">
        <pc:chgData name="Miguel Díaz Benito" userId="S::miguel.diazbenito_estudiante.uam.es#ext#@eurecatcloud.onmicrosoft.com::bf8edb2c-c0ba-4081-b908-7319b09d3b61" providerId="AD" clId="Web-{D02A7755-5C67-48D4-AA01-EE3D249A2099}" dt="2023-11-23T21:17:16.630" v="0"/>
        <pc:sldMkLst>
          <pc:docMk/>
          <pc:sldMk cId="2062748796" sldId="29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38618F-93BD-4DE5-8861-AFA523CA3E50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360C69-1253-4910-86B5-0F31AA3B5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34277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98382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GB">
              <a:solidFill>
                <a:srgbClr val="000000"/>
              </a:solidFill>
              <a:latin typeface="Volta"/>
            </a:endParaRPr>
          </a:p>
          <a:p>
            <a:pPr algn="l"/>
            <a:endParaRPr lang="en-GB">
              <a:solidFill>
                <a:srgbClr val="000000"/>
              </a:solidFill>
              <a:latin typeface="Volt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2286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661210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2835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s-ES" sz="1800" kern="10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530748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716687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535318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360C69-1253-4910-86B5-0F31AA3B5424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52627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ED19C8B-5C05-E86B-A6FD-8F7744A503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34F0D6E-9042-434A-DC4D-746CA666E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FF0D51E-D138-BE26-04FC-478C38B3CF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53DD3F2-5771-0DBA-41DB-2BDC3E488C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72326" y="2624576"/>
            <a:ext cx="6247348" cy="1608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03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DE1C49C-F146-4B32-1A6A-FEDFC904D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C7623CB-0838-E267-E582-41931B9A1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5E8AF69-AD12-5B01-1433-FD9F27C66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29A7DCDE-5099-DF57-6DA8-BA19D9731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119" y="2547707"/>
            <a:ext cx="8191763" cy="1384147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4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3982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teri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BD8E59-A1F0-E768-FA68-CB7252F99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4" y="1355835"/>
            <a:ext cx="10552386" cy="505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>
                <a:solidFill>
                  <a:srgbClr val="B3453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4D750E-243B-04C6-C187-BDFE806D5B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18D538-AB3F-7BF2-3C7B-77131EAF4B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63D835B-23BB-4F4B-8E83-97E00E27B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D523FAE-42CC-5481-0BBE-F5659D94C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72B7DAD-ED7F-9DD4-20EA-7EF02E6B8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002067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53D0AF0-4863-B1F9-2C21-47A69D7F0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7A46FB2-4820-9555-D5EA-70ABAC4EF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772ED3-4108-3303-AAF7-B9F0D9DF5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D3715674-E3AD-E2EB-FBBD-92302A226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4" y="1355835"/>
            <a:ext cx="10552386" cy="505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>
                <a:solidFill>
                  <a:srgbClr val="B3453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E08579B1-FE03-72C9-83F1-F8E85ECA5A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Marcador de contenido 3">
            <a:extLst>
              <a:ext uri="{FF2B5EF4-FFF2-40B4-BE49-F238E27FC236}">
                <a16:creationId xmlns:a16="http://schemas.microsoft.com/office/drawing/2014/main" id="{A54D6583-2E60-1428-A88D-C25BBC7FA0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365664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ED19C8B-5C05-E86B-A6FD-8F7744A503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34F0D6E-9042-434A-DC4D-746CA666E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FF0D51E-D138-BE26-04FC-478C38B3CF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53DD3F2-5771-0DBA-41DB-2BDC3E488C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72326" y="2624576"/>
            <a:ext cx="6247348" cy="1608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03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DE1C49C-F146-4B32-1A6A-FEDFC904D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C7623CB-0838-E267-E582-41931B9A1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5E8AF69-AD12-5B01-1433-FD9F27C66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29A7DCDE-5099-DF57-6DA8-BA19D9731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119" y="2547707"/>
            <a:ext cx="8191763" cy="1384147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4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3982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terio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BD8E59-A1F0-E768-FA68-CB7252F99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4" y="1355835"/>
            <a:ext cx="10552386" cy="505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>
                <a:solidFill>
                  <a:srgbClr val="B3453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4D750E-243B-04C6-C187-BDFE806D5B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18D538-AB3F-7BF2-3C7B-77131EAF4B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63D835B-23BB-4F4B-8E83-97E00E27B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D523FAE-42CC-5481-0BBE-F5659D94C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72B7DAD-ED7F-9DD4-20EA-7EF02E6B8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002067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53D0AF0-4863-B1F9-2C21-47A69D7F0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D9343-6316-0247-9021-BFB44DD08E99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7A46FB2-4820-9555-D5EA-70ABAC4EF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772ED3-4108-3303-AAF7-B9F0D9DF5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D3715674-E3AD-E2EB-FBBD-92302A226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4" y="1355835"/>
            <a:ext cx="10552386" cy="505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>
                <a:solidFill>
                  <a:srgbClr val="B3453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E08579B1-FE03-72C9-83F1-F8E85ECA5A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9" name="Marcador de contenido 3">
            <a:extLst>
              <a:ext uri="{FF2B5EF4-FFF2-40B4-BE49-F238E27FC236}">
                <a16:creationId xmlns:a16="http://schemas.microsoft.com/office/drawing/2014/main" id="{A54D6583-2E60-1428-A88D-C25BBC7FA0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63029"/>
            <a:ext cx="5181600" cy="4013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023761"/>
                </a:solidFill>
              </a:defRPr>
            </a:lvl1pPr>
            <a:lvl2pPr>
              <a:defRPr sz="1800">
                <a:solidFill>
                  <a:srgbClr val="023761"/>
                </a:solidFill>
              </a:defRPr>
            </a:lvl2pPr>
            <a:lvl3pPr>
              <a:defRPr sz="1600">
                <a:solidFill>
                  <a:srgbClr val="023761"/>
                </a:solidFill>
              </a:defRPr>
            </a:lvl3pPr>
            <a:lvl4pPr>
              <a:defRPr sz="1400">
                <a:solidFill>
                  <a:srgbClr val="023761"/>
                </a:solidFill>
              </a:defRPr>
            </a:lvl4pPr>
            <a:lvl5pPr>
              <a:defRPr sz="1400">
                <a:solidFill>
                  <a:srgbClr val="02376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365664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308DDF5-563A-2512-EEA5-907993B320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5D9343-6316-0247-9021-BFB44DD08E99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20C148D-59AC-87F3-D4F3-B6E90D64A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3A87902-D3EF-8569-6287-CDFFF83762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7076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E1D3F3-4B7D-FDFA-D398-4790BA296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39472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E1D3F3-4B7D-FDFA-D398-4790BA296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308DDF5-563A-2512-EEA5-907993B320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5D9343-6316-0247-9021-BFB44DD08E99}" type="datetimeFigureOut">
              <a:rPr lang="es-ES" smtClean="0"/>
              <a:t>24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20C148D-59AC-87F3-D4F3-B6E90D64A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3A87902-D3EF-8569-6287-CDFFF83762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5EE906-B8FB-274F-9592-E5610476E75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7076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55071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68CA5FF-9755-07FC-4E86-3126D1F2C78E}"/>
              </a:ext>
            </a:extLst>
          </p:cNvPr>
          <p:cNvSpPr txBox="1">
            <a:spLocks/>
          </p:cNvSpPr>
          <p:nvPr/>
        </p:nvSpPr>
        <p:spPr>
          <a:xfrm>
            <a:off x="344978" y="1537202"/>
            <a:ext cx="6253497" cy="33664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Dayweek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Monday=0, Tuesday=1,...</a:t>
            </a:r>
            <a:endParaRPr lang="en-GB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Month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January=1, February=2,...</a:t>
            </a:r>
            <a:endParaRPr lang="en-GB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N_weekday_X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Number of working dates in Mondays (0), Tuesdays(1),... in the current month.</a:t>
            </a:r>
            <a:endParaRPr lang="en-US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000" b="1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accent1">
                    <a:lumMod val="75000"/>
                  </a:schemeClr>
                </a:solidFill>
              </a:rPr>
              <a:t>Wd:</a:t>
            </a: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 # of working date in current month.</a:t>
            </a:r>
            <a:endParaRPr lang="en-US" sz="200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1AF75CB8-D4F0-2A5D-59E4-75157DB91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163" y="1348861"/>
            <a:ext cx="6935470" cy="731838"/>
          </a:xfrm>
        </p:spPr>
        <p:txBody>
          <a:bodyPr/>
          <a:lstStyle/>
          <a:p>
            <a:r>
              <a:rPr lang="es-ES"/>
              <a:t>Calendar </a:t>
            </a:r>
            <a:r>
              <a:rPr lang="es-ES" err="1"/>
              <a:t>features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7C44E26-0ED1-3E22-3CE7-D20FFCFA68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276432"/>
              </p:ext>
            </p:extLst>
          </p:nvPr>
        </p:nvGraphicFramePr>
        <p:xfrm>
          <a:off x="2484998" y="5022406"/>
          <a:ext cx="7474726" cy="1475186"/>
        </p:xfrm>
        <a:graphic>
          <a:graphicData uri="http://schemas.openxmlformats.org/drawingml/2006/table">
            <a:tbl>
              <a:tblPr/>
              <a:tblGrid>
                <a:gridCol w="921863">
                  <a:extLst>
                    <a:ext uri="{9D8B030D-6E8A-4147-A177-3AD203B41FA5}">
                      <a16:colId xmlns:a16="http://schemas.microsoft.com/office/drawing/2014/main" val="654119505"/>
                    </a:ext>
                  </a:extLst>
                </a:gridCol>
                <a:gridCol w="857577">
                  <a:extLst>
                    <a:ext uri="{9D8B030D-6E8A-4147-A177-3AD203B41FA5}">
                      <a16:colId xmlns:a16="http://schemas.microsoft.com/office/drawing/2014/main" val="3707014895"/>
                    </a:ext>
                  </a:extLst>
                </a:gridCol>
                <a:gridCol w="1399189">
                  <a:extLst>
                    <a:ext uri="{9D8B030D-6E8A-4147-A177-3AD203B41FA5}">
                      <a16:colId xmlns:a16="http://schemas.microsoft.com/office/drawing/2014/main" val="2580576401"/>
                    </a:ext>
                  </a:extLst>
                </a:gridCol>
                <a:gridCol w="591204">
                  <a:extLst>
                    <a:ext uri="{9D8B030D-6E8A-4147-A177-3AD203B41FA5}">
                      <a16:colId xmlns:a16="http://schemas.microsoft.com/office/drawing/2014/main" val="2677764245"/>
                    </a:ext>
                  </a:extLst>
                </a:gridCol>
                <a:gridCol w="1044463">
                  <a:extLst>
                    <a:ext uri="{9D8B030D-6E8A-4147-A177-3AD203B41FA5}">
                      <a16:colId xmlns:a16="http://schemas.microsoft.com/office/drawing/2014/main" val="450643930"/>
                    </a:ext>
                  </a:extLst>
                </a:gridCol>
                <a:gridCol w="1379482">
                  <a:extLst>
                    <a:ext uri="{9D8B030D-6E8A-4147-A177-3AD203B41FA5}">
                      <a16:colId xmlns:a16="http://schemas.microsoft.com/office/drawing/2014/main" val="3111739820"/>
                    </a:ext>
                  </a:extLst>
                </a:gridCol>
                <a:gridCol w="1280948">
                  <a:extLst>
                    <a:ext uri="{9D8B030D-6E8A-4147-A177-3AD203B41FA5}">
                      <a16:colId xmlns:a16="http://schemas.microsoft.com/office/drawing/2014/main" val="744777064"/>
                    </a:ext>
                  </a:extLst>
                </a:gridCol>
              </a:tblGrid>
              <a:tr h="638296"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yweek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>
                          <a:solidFill>
                            <a:srgbClr val="16306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N_weekday_0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d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d_left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_nwd_aft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es-ES" sz="1200" b="1" i="0" kern="1200" err="1">
                          <a:solidFill>
                            <a:srgbClr val="16306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_nwd_bef</a:t>
                      </a:r>
                      <a:endParaRPr lang="es-ES" sz="1200" b="1" i="0" kern="1200">
                        <a:solidFill>
                          <a:srgbClr val="16306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080042"/>
                  </a:ext>
                </a:extLst>
              </a:tr>
              <a:tr h="41844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4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4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6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2465350"/>
                  </a:ext>
                </a:extLst>
              </a:tr>
              <a:tr h="41844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4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582309"/>
                  </a:ext>
                </a:extLst>
              </a:tr>
            </a:tbl>
          </a:graphicData>
        </a:graphic>
      </p:graphicFrame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0A472D5-1767-F98A-7677-0704E1A1A7FF}"/>
              </a:ext>
            </a:extLst>
          </p:cNvPr>
          <p:cNvSpPr txBox="1">
            <a:spLocks/>
          </p:cNvSpPr>
          <p:nvPr/>
        </p:nvSpPr>
        <p:spPr>
          <a:xfrm>
            <a:off x="6415836" y="1540076"/>
            <a:ext cx="5581716" cy="3611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  <a:cs typeface="Arial"/>
              </a:rPr>
              <a:t>Wd_left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  <a:cs typeface="Arial"/>
              </a:rPr>
              <a:t>: 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  <a:cs typeface="Arial"/>
              </a:rPr>
              <a:t># of working dates left until the end of the month</a:t>
            </a:r>
            <a:endParaRPr lang="en-US" sz="2000" b="1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1" err="1">
                <a:solidFill>
                  <a:schemeClr val="accent1">
                    <a:lumMod val="75000"/>
                  </a:schemeClr>
                </a:solidFill>
              </a:rPr>
              <a:t>N_nwd_aft</a:t>
            </a:r>
            <a:r>
              <a:rPr lang="en-US" sz="2000" b="1">
                <a:solidFill>
                  <a:schemeClr val="accent1">
                    <a:lumMod val="75000"/>
                  </a:schemeClr>
                </a:solidFill>
              </a:rPr>
              <a:t>:</a:t>
            </a: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 Number of wd after a given wd which were non-working dates.</a:t>
            </a:r>
            <a:endParaRPr lang="en-US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1" err="1">
                <a:solidFill>
                  <a:schemeClr val="accent1">
                    <a:lumMod val="75000"/>
                  </a:schemeClr>
                </a:solidFill>
              </a:rPr>
              <a:t>N_nwd_bef</a:t>
            </a:r>
            <a:r>
              <a:rPr lang="en-US" sz="2000" b="1">
                <a:solidFill>
                  <a:schemeClr val="accent1">
                    <a:lumMod val="75000"/>
                  </a:schemeClr>
                </a:solidFill>
              </a:rPr>
              <a:t>:</a:t>
            </a:r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 Number of wd before a given wd which were non-working dates.</a:t>
            </a:r>
            <a:endParaRPr lang="en-US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4355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B99152FC-F4AE-C7E0-4AA5-43819B4B2BC0}"/>
              </a:ext>
            </a:extLst>
          </p:cNvPr>
          <p:cNvSpPr txBox="1">
            <a:spLocks/>
          </p:cNvSpPr>
          <p:nvPr/>
        </p:nvSpPr>
        <p:spPr>
          <a:xfrm>
            <a:off x="234142" y="1974822"/>
            <a:ext cx="5470625" cy="3926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Ther_area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 Encoded therapeutic area of the dru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Hospital_rate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Percentage of the sales of that country-brand which are sold in hospitals, compared to other distribution channels.</a:t>
            </a:r>
            <a:endParaRPr lang="en-GB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Main_channel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Main distribution channel of sales (Hospital, Retail, Others).</a:t>
            </a:r>
            <a:endParaRPr lang="en-GB" sz="2000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F2681225-5616-AE54-E68C-C0E23076E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735" y="1384095"/>
            <a:ext cx="6935470" cy="731838"/>
          </a:xfrm>
        </p:spPr>
        <p:txBody>
          <a:bodyPr/>
          <a:lstStyle/>
          <a:p>
            <a:r>
              <a:rPr lang="es-ES"/>
              <a:t>Business </a:t>
            </a:r>
            <a:r>
              <a:rPr lang="es-ES" err="1"/>
              <a:t>features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777672A-A6D4-039D-0D27-B2487D0F7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167024"/>
              </p:ext>
            </p:extLst>
          </p:nvPr>
        </p:nvGraphicFramePr>
        <p:xfrm>
          <a:off x="6173196" y="2555361"/>
          <a:ext cx="5242949" cy="2983830"/>
        </p:xfrm>
        <a:graphic>
          <a:graphicData uri="http://schemas.openxmlformats.org/drawingml/2006/table">
            <a:tbl>
              <a:tblPr/>
              <a:tblGrid>
                <a:gridCol w="1656592">
                  <a:extLst>
                    <a:ext uri="{9D8B030D-6E8A-4147-A177-3AD203B41FA5}">
                      <a16:colId xmlns:a16="http://schemas.microsoft.com/office/drawing/2014/main" val="1529572320"/>
                    </a:ext>
                  </a:extLst>
                </a:gridCol>
                <a:gridCol w="1522051">
                  <a:extLst>
                    <a:ext uri="{9D8B030D-6E8A-4147-A177-3AD203B41FA5}">
                      <a16:colId xmlns:a16="http://schemas.microsoft.com/office/drawing/2014/main" val="3345390701"/>
                    </a:ext>
                  </a:extLst>
                </a:gridCol>
                <a:gridCol w="2064306">
                  <a:extLst>
                    <a:ext uri="{9D8B030D-6E8A-4147-A177-3AD203B41FA5}">
                      <a16:colId xmlns:a16="http://schemas.microsoft.com/office/drawing/2014/main" val="4217637274"/>
                    </a:ext>
                  </a:extLst>
                </a:gridCol>
              </a:tblGrid>
              <a:tr h="70830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b="1" i="0" err="1">
                          <a:solidFill>
                            <a:srgbClr val="0460A9"/>
                          </a:solidFill>
                          <a:effectLst/>
                          <a:latin typeface="Arial" panose="020B0604020202020204" pitchFamily="34" charset="0"/>
                        </a:rPr>
                        <a:t>Ther_area</a:t>
                      </a:r>
                      <a:endParaRPr lang="en-US" sz="1600" b="1" i="0">
                        <a:solidFill>
                          <a:srgbClr val="0460A9"/>
                        </a:solidFill>
                        <a:effectLst/>
                      </a:endParaRP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s-ES" sz="1600" b="1" i="0">
                          <a:solidFill>
                            <a:srgbClr val="0460A9"/>
                          </a:solidFill>
                          <a:effectLst/>
                          <a:latin typeface="Arial"/>
                        </a:rPr>
                        <a:t>Hospital_rate​</a:t>
                      </a: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ES" sz="1600" b="1" i="0" kern="1200" err="1">
                          <a:solidFill>
                            <a:srgbClr val="0460A9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in_channel</a:t>
                      </a:r>
                      <a:endParaRPr lang="es-ES" sz="1600" b="1" i="0" kern="1200">
                        <a:solidFill>
                          <a:srgbClr val="0460A9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US" sz="1600" b="1" i="0">
                        <a:solidFill>
                          <a:srgbClr val="0460A9"/>
                        </a:solidFill>
                        <a:effectLst/>
                      </a:endParaRP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5080042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Hospital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465350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12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6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tail</a:t>
                      </a:r>
                      <a:endParaRPr lang="es-ES" sz="16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582309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1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Hospital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3862852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1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ES" sz="16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thers</a:t>
                      </a:r>
                      <a:endParaRPr lang="es-ES" sz="16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8215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24990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A321F-CADA-D184-CB87-12F0F5B97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err="1"/>
              <a:t>Hints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4B08EE-A7BE-65BB-1A04-E41277F02C6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/>
              <a:t>Do </a:t>
            </a:r>
            <a:r>
              <a:rPr lang="es-ES" err="1"/>
              <a:t>an</a:t>
            </a:r>
            <a:r>
              <a:rPr lang="es-ES"/>
              <a:t> </a:t>
            </a:r>
            <a:r>
              <a:rPr lang="es-ES" err="1"/>
              <a:t>outlier</a:t>
            </a:r>
            <a:r>
              <a:rPr lang="es-ES"/>
              <a:t> </a:t>
            </a:r>
            <a:r>
              <a:rPr lang="es-ES" err="1"/>
              <a:t>detection</a:t>
            </a:r>
            <a:endParaRPr lang="es-ES" err="1">
              <a:cs typeface="Arial"/>
            </a:endParaRPr>
          </a:p>
          <a:p>
            <a:r>
              <a:rPr lang="es-ES" err="1"/>
              <a:t>Create</a:t>
            </a:r>
            <a:r>
              <a:rPr lang="es-ES"/>
              <a:t> </a:t>
            </a:r>
            <a:r>
              <a:rPr lang="es-ES" err="1"/>
              <a:t>lags</a:t>
            </a:r>
            <a:r>
              <a:rPr lang="es-ES"/>
              <a:t> variables </a:t>
            </a:r>
            <a:r>
              <a:rPr lang="es-ES" err="1"/>
              <a:t>may</a:t>
            </a:r>
            <a:r>
              <a:rPr lang="es-ES"/>
              <a:t> be </a:t>
            </a:r>
            <a:r>
              <a:rPr lang="es-ES" err="1"/>
              <a:t>useful</a:t>
            </a:r>
            <a:endParaRPr lang="es-ES"/>
          </a:p>
          <a:p>
            <a:endParaRPr lang="es-ES"/>
          </a:p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765399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5A3791D-7F7F-CFE8-AAEA-5B2054529C00}"/>
              </a:ext>
            </a:extLst>
          </p:cNvPr>
          <p:cNvSpPr txBox="1">
            <a:spLocks/>
          </p:cNvSpPr>
          <p:nvPr/>
        </p:nvSpPr>
        <p:spPr>
          <a:xfrm>
            <a:off x="280665" y="2015751"/>
            <a:ext cx="5640186" cy="37507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Phase: </a:t>
            </a:r>
            <a:r>
              <a:rPr lang="en-GB" sz="2000">
                <a:solidFill>
                  <a:schemeClr val="accent6"/>
                </a:solidFill>
              </a:rPr>
              <a:t>Target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, daily sales percentage.</a:t>
            </a:r>
            <a:br>
              <a:rPr lang="en-GB" sz="2000">
                <a:cs typeface="Arial"/>
              </a:rPr>
            </a:br>
            <a:r>
              <a:rPr lang="en-GB" sz="2000" b="1" i="1">
                <a:solidFill>
                  <a:schemeClr val="accent1">
                    <a:lumMod val="75000"/>
                  </a:schemeClr>
                </a:solidFill>
                <a:cs typeface="Arial"/>
              </a:rPr>
              <a:t>Important: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  <a:cs typeface="Arial"/>
              </a:rPr>
              <a:t> </a:t>
            </a:r>
            <a:r>
              <a:rPr lang="en-GB" sz="2000" i="1">
                <a:solidFill>
                  <a:schemeClr val="accent1">
                    <a:lumMod val="75000"/>
                  </a:schemeClr>
                </a:solidFill>
                <a:cs typeface="Arial"/>
              </a:rPr>
              <a:t>Sum of phases of a same country-brand-month must be 1 (+-0.0001). Failure to meet this constraint will fail submission.</a:t>
            </a:r>
            <a:br>
              <a:rPr lang="en-GB" sz="2000"/>
            </a:br>
            <a:endParaRPr lang="en-GB" sz="2000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err="1">
                <a:solidFill>
                  <a:schemeClr val="accent1">
                    <a:lumMod val="75000"/>
                  </a:schemeClr>
                </a:solidFill>
              </a:rPr>
              <a:t>Monthly_sales</a:t>
            </a: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Auxiliar feature, sum of sales per month, transformed non-linearly. </a:t>
            </a:r>
            <a:r>
              <a:rPr lang="en-GB" sz="2000" b="1" i="1">
                <a:solidFill>
                  <a:schemeClr val="accent1">
                    <a:lumMod val="75000"/>
                  </a:schemeClr>
                </a:solidFill>
              </a:rPr>
              <a:t>Important</a:t>
            </a:r>
            <a:r>
              <a:rPr lang="en-GB" sz="2000" i="1">
                <a:solidFill>
                  <a:schemeClr val="accent1">
                    <a:lumMod val="75000"/>
                  </a:schemeClr>
                </a:solidFill>
              </a:rPr>
              <a:t>: this feature, like Phase, is </a:t>
            </a:r>
            <a:r>
              <a:rPr lang="en-GB" sz="2000" i="1">
                <a:solidFill>
                  <a:schemeClr val="accent6"/>
                </a:solidFill>
              </a:rPr>
              <a:t>not available in the test set</a:t>
            </a:r>
            <a:r>
              <a:rPr lang="en-GB" sz="2000" i="1">
                <a:solidFill>
                  <a:schemeClr val="accent1">
                    <a:lumMod val="75000"/>
                  </a:schemeClr>
                </a:solidFill>
              </a:rPr>
              <a:t>. </a:t>
            </a:r>
            <a:br>
              <a:rPr lang="en-GB" sz="2000" i="1"/>
            </a:br>
            <a:r>
              <a:rPr lang="en-GB" sz="2000" i="1">
                <a:solidFill>
                  <a:schemeClr val="accent1">
                    <a:lumMod val="75000"/>
                  </a:schemeClr>
                </a:solidFill>
              </a:rPr>
              <a:t>No need to predict or use it.</a:t>
            </a:r>
            <a:endParaRPr lang="en-GB" sz="2000" i="1">
              <a:solidFill>
                <a:schemeClr val="accent1">
                  <a:lumMod val="75000"/>
                </a:schemeClr>
              </a:solidFill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97842711-4D23-753C-CEB9-97275332E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46" y="1391622"/>
            <a:ext cx="6935470" cy="731838"/>
          </a:xfrm>
        </p:spPr>
        <p:txBody>
          <a:bodyPr/>
          <a:lstStyle/>
          <a:p>
            <a:r>
              <a:rPr lang="es-ES"/>
              <a:t>Target &amp; auxiliar </a:t>
            </a:r>
            <a:r>
              <a:rPr lang="es-ES" err="1"/>
              <a:t>features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FD00EB7-D101-4E5C-37EE-EE50FE6FDF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264934"/>
              </p:ext>
            </p:extLst>
          </p:nvPr>
        </p:nvGraphicFramePr>
        <p:xfrm>
          <a:off x="7651013" y="2290619"/>
          <a:ext cx="3623944" cy="2953010"/>
        </p:xfrm>
        <a:graphic>
          <a:graphicData uri="http://schemas.openxmlformats.org/drawingml/2006/table">
            <a:tbl>
              <a:tblPr/>
              <a:tblGrid>
                <a:gridCol w="1930342">
                  <a:extLst>
                    <a:ext uri="{9D8B030D-6E8A-4147-A177-3AD203B41FA5}">
                      <a16:colId xmlns:a16="http://schemas.microsoft.com/office/drawing/2014/main" val="1529572320"/>
                    </a:ext>
                  </a:extLst>
                </a:gridCol>
                <a:gridCol w="1693602">
                  <a:extLst>
                    <a:ext uri="{9D8B030D-6E8A-4147-A177-3AD203B41FA5}">
                      <a16:colId xmlns:a16="http://schemas.microsoft.com/office/drawing/2014/main" val="3345390701"/>
                    </a:ext>
                  </a:extLst>
                </a:gridCol>
              </a:tblGrid>
              <a:tr h="67748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b="1" i="0">
                          <a:solidFill>
                            <a:srgbClr val="0460A9"/>
                          </a:solidFill>
                          <a:effectLst/>
                          <a:latin typeface="Arial"/>
                        </a:rPr>
                        <a:t>Phase</a:t>
                      </a: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600" b="1" i="0">
                          <a:solidFill>
                            <a:srgbClr val="0460A9"/>
                          </a:solidFill>
                          <a:effectLst/>
                        </a:rPr>
                        <a:t>Monthly_sales</a:t>
                      </a:r>
                      <a:endParaRPr lang="en-US" err="1"/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5080042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4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465350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582309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2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3862852"/>
                  </a:ext>
                </a:extLst>
              </a:tr>
              <a:tr h="56888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5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8215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27487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F4A94-9D08-00E7-6203-C3FDA89ECB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 b="0">
                <a:latin typeface="Arial Black"/>
              </a:rPr>
              <a:t>Accuracy Metric:   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B3F5AC-B93D-AFEF-BD66-0177EE78FF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67738" y="3783395"/>
            <a:ext cx="1977872" cy="484245"/>
          </a:xfrm>
        </p:spPr>
        <p:txBody>
          <a:bodyPr lIns="91440" tIns="45720" rIns="91440" bIns="45720" anchor="t">
            <a:normAutofit/>
          </a:bodyPr>
          <a:lstStyle/>
          <a:p>
            <a:pPr marL="0" indent="0">
              <a:buNone/>
            </a:pPr>
            <a:r>
              <a:rPr lang="en-GB" u="sng">
                <a:solidFill>
                  <a:schemeClr val="accent1">
                    <a:lumMod val="75000"/>
                  </a:schemeClr>
                </a:solidFill>
              </a:rPr>
              <a:t>Nomenclature:</a:t>
            </a:r>
            <a:endParaRPr lang="es-ES" u="sng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47BE0DE-2881-B5A2-454E-379F0A8051C6}"/>
              </a:ext>
            </a:extLst>
          </p:cNvPr>
          <p:cNvGrpSpPr/>
          <p:nvPr/>
        </p:nvGrpSpPr>
        <p:grpSpPr>
          <a:xfrm>
            <a:off x="4211536" y="4329697"/>
            <a:ext cx="6613925" cy="1698978"/>
            <a:chOff x="3560882" y="3296670"/>
            <a:chExt cx="6175515" cy="149021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51C8E94-F212-4057-EC5C-69AE1A1AD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60882" y="3683532"/>
              <a:ext cx="5943600" cy="409575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9DA8835-6C04-4006-3D24-2E86189B424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49922" y="3296670"/>
              <a:ext cx="6086475" cy="409575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08B0783-013C-7EB8-4E51-BA0234C4C0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49922" y="4415406"/>
              <a:ext cx="1981200" cy="371475"/>
            </a:xfrm>
            <a:prstGeom prst="rect">
              <a:avLst/>
            </a:prstGeom>
          </p:spPr>
        </p:pic>
      </p:grp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5B400F8F-B4C1-B171-FC77-77C70B97675B}"/>
              </a:ext>
            </a:extLst>
          </p:cNvPr>
          <p:cNvSpPr txBox="1">
            <a:spLocks/>
          </p:cNvSpPr>
          <p:nvPr/>
        </p:nvSpPr>
        <p:spPr>
          <a:xfrm>
            <a:off x="499982" y="3310124"/>
            <a:ext cx="3861701" cy="2607775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2376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2376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2376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2376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2376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Understanding the metric:</a:t>
            </a:r>
          </a:p>
          <a:p>
            <a:pPr marL="0" indent="0">
              <a:buNone/>
            </a:pPr>
            <a:endParaRPr lang="es-ES">
              <a:cs typeface="Arial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Data Segmentation</a:t>
            </a:r>
          </a:p>
          <a:p>
            <a:pPr marL="457200" indent="-457200">
              <a:buFont typeface="+mj-lt"/>
              <a:buAutoNum type="arabicPeriod"/>
            </a:pP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Error Computation</a:t>
            </a:r>
          </a:p>
          <a:p>
            <a:pPr marL="457200" indent="-457200">
              <a:buFont typeface="+mj-lt"/>
              <a:buAutoNum type="arabicPeriod"/>
            </a:pPr>
            <a:r>
              <a:rPr lang="en-GB">
                <a:solidFill>
                  <a:schemeClr val="accent1">
                    <a:lumMod val="75000"/>
                  </a:schemeClr>
                </a:solidFill>
                <a:cs typeface="Arial"/>
              </a:rPr>
              <a:t>Weight Assignment</a:t>
            </a:r>
          </a:p>
          <a:p>
            <a:pPr marL="457200" indent="-457200">
              <a:buFont typeface="+mj-lt"/>
              <a:buAutoNum type="arabicPeriod"/>
            </a:pPr>
            <a:r>
              <a:rPr lang="en-GB">
                <a:solidFill>
                  <a:schemeClr val="accent1">
                    <a:lumMod val="75000"/>
                  </a:schemeClr>
                </a:solidFill>
                <a:cs typeface="Arial"/>
              </a:rPr>
              <a:t>Summation</a:t>
            </a:r>
          </a:p>
          <a:p>
            <a:pPr marL="457200" indent="-457200">
              <a:buFont typeface="+mj-lt"/>
              <a:buAutoNum type="arabicPeriod"/>
            </a:pPr>
            <a:r>
              <a:rPr lang="en-GB">
                <a:solidFill>
                  <a:schemeClr val="accent1">
                    <a:lumMod val="75000"/>
                  </a:schemeClr>
                </a:solidFill>
                <a:cs typeface="Arial"/>
              </a:rPr>
              <a:t>Temporal Weighting</a:t>
            </a:r>
          </a:p>
          <a:p>
            <a:pPr marL="457200" indent="-457200">
              <a:buFont typeface="+mj-lt"/>
              <a:buAutoNum type="arabicPeriod"/>
            </a:pPr>
            <a:r>
              <a:rPr lang="en-GB">
                <a:solidFill>
                  <a:schemeClr val="accent1">
                    <a:lumMod val="75000"/>
                  </a:schemeClr>
                </a:solidFill>
                <a:cs typeface="Arial"/>
              </a:rPr>
              <a:t>Constraint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6958D88-5146-1283-741E-3845DF99F1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5214" y="1912441"/>
            <a:ext cx="7911905" cy="14375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AF16B7D-ACB4-75FF-638A-5C9F9F2E3D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7738" y="6042462"/>
            <a:ext cx="4747256" cy="5321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3A5A662-E3CC-E179-653E-1A2D433B68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06897" y="5184665"/>
            <a:ext cx="5407356" cy="380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317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8394BB-3E42-172B-DB7B-4967809E3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>
            <a:noAutofit/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985976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81B546-9437-D350-BF0D-10B0584D8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Technical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part</a:t>
            </a:r>
            <a:endParaRPr lang="es-ES">
              <a:latin typeface="Trebuchet MS"/>
            </a:endParaRP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B5924BCD-C271-C0BC-CF87-DBADE1F24BD2}"/>
              </a:ext>
            </a:extLst>
          </p:cNvPr>
          <p:cNvSpPr txBox="1"/>
          <p:nvPr/>
        </p:nvSpPr>
        <p:spPr>
          <a:xfrm>
            <a:off x="1686253" y="2872628"/>
            <a:ext cx="8644321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fontAlgn="base"/>
            <a:r>
              <a:rPr lang="en-GB" sz="3600" b="0" i="0" u="none" strike="noStrike">
                <a:solidFill>
                  <a:srgbClr val="000000"/>
                </a:solidFill>
                <a:effectLst/>
                <a:latin typeface="Trebuchet MS"/>
              </a:rPr>
              <a:t>Communication: </a:t>
            </a:r>
            <a:r>
              <a:rPr lang="en-GB" sz="3600" b="1" i="0" u="none" strike="noStrike">
                <a:solidFill>
                  <a:srgbClr val="B34534"/>
                </a:solidFill>
                <a:effectLst/>
                <a:latin typeface="Trebuchet MS"/>
              </a:rPr>
              <a:t>Microsoft Teams</a:t>
            </a:r>
            <a:r>
              <a:rPr lang="en-GB" sz="3600" b="0" i="0">
                <a:solidFill>
                  <a:srgbClr val="B34534"/>
                </a:solidFill>
                <a:effectLst/>
                <a:latin typeface="Trebuchet MS"/>
              </a:rPr>
              <a:t>​</a:t>
            </a:r>
          </a:p>
          <a:p>
            <a:pPr algn="ctr" rtl="0" fontAlgn="base"/>
            <a:r>
              <a:rPr lang="en-GB" sz="3600" b="0" i="0" u="none" strike="noStrike">
                <a:solidFill>
                  <a:srgbClr val="000000"/>
                </a:solidFill>
                <a:effectLst/>
                <a:latin typeface="Trebuchet MS"/>
              </a:rPr>
              <a:t>Upload the results: </a:t>
            </a:r>
            <a:r>
              <a:rPr lang="en-GB" sz="3600" b="1" i="0" u="none" strike="noStrike" err="1">
                <a:solidFill>
                  <a:srgbClr val="B34534"/>
                </a:solidFill>
                <a:effectLst/>
                <a:latin typeface="Trebuchet MS"/>
              </a:rPr>
              <a:t>Datathon</a:t>
            </a:r>
            <a:r>
              <a:rPr lang="en-GB" sz="3600" b="1" i="0" u="none" strike="noStrike">
                <a:solidFill>
                  <a:srgbClr val="B34534"/>
                </a:solidFill>
                <a:effectLst/>
                <a:latin typeface="Trebuchet MS"/>
              </a:rPr>
              <a:t> Platform</a:t>
            </a:r>
            <a:r>
              <a:rPr lang="en-US" sz="3600" b="0" i="0">
                <a:solidFill>
                  <a:srgbClr val="000000"/>
                </a:solidFill>
                <a:effectLst/>
                <a:latin typeface="Trebuchet MS"/>
              </a:rPr>
              <a:t>​</a:t>
            </a:r>
          </a:p>
        </p:txBody>
      </p:sp>
    </p:spTree>
    <p:extLst>
      <p:ext uri="{BB962C8B-B14F-4D97-AF65-F5344CB8AC3E}">
        <p14:creationId xmlns:p14="http://schemas.microsoft.com/office/powerpoint/2010/main" val="16085797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endParaRPr lang="es-ES">
              <a:latin typeface="Trebuchet M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EDCF705-99B3-2ED4-63F4-EE006697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442" y="1860956"/>
            <a:ext cx="7219929" cy="4406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29">
            <a:extLst>
              <a:ext uri="{FF2B5EF4-FFF2-40B4-BE49-F238E27FC236}">
                <a16:creationId xmlns:a16="http://schemas.microsoft.com/office/drawing/2014/main" id="{1397A699-DB91-5132-4B95-D2D9D6E52262}"/>
              </a:ext>
            </a:extLst>
          </p:cNvPr>
          <p:cNvSpPr txBox="1"/>
          <p:nvPr/>
        </p:nvSpPr>
        <p:spPr>
          <a:xfrm>
            <a:off x="4751458" y="4064096"/>
            <a:ext cx="1256932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General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294C1FB7-1353-367F-B706-7DDF64F8837D}"/>
              </a:ext>
            </a:extLst>
          </p:cNvPr>
          <p:cNvSpPr/>
          <p:nvPr/>
        </p:nvSpPr>
        <p:spPr>
          <a:xfrm>
            <a:off x="4620415" y="2496620"/>
            <a:ext cx="1519018" cy="1448656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A69A2E0C-F34B-4F5C-022E-407ADC682CFD}"/>
              </a:ext>
            </a:extLst>
          </p:cNvPr>
          <p:cNvSpPr txBox="1"/>
          <p:nvPr/>
        </p:nvSpPr>
        <p:spPr>
          <a:xfrm>
            <a:off x="2973440" y="4034898"/>
            <a:ext cx="162772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Private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with Mentors and Staff</a:t>
            </a: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2CC8B8C7-DA42-4ADC-7C88-B3F0052F819A}"/>
              </a:ext>
            </a:extLst>
          </p:cNvPr>
          <p:cNvSpPr/>
          <p:nvPr/>
        </p:nvSpPr>
        <p:spPr>
          <a:xfrm>
            <a:off x="3017518" y="2499182"/>
            <a:ext cx="1519018" cy="144609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83905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endParaRPr lang="es-ES">
              <a:latin typeface="Trebuchet M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EDCF705-99B3-2ED4-63F4-EE006697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442" y="1860956"/>
            <a:ext cx="7219929" cy="4406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31">
            <a:extLst>
              <a:ext uri="{FF2B5EF4-FFF2-40B4-BE49-F238E27FC236}">
                <a16:creationId xmlns:a16="http://schemas.microsoft.com/office/drawing/2014/main" id="{A69A2E0C-F34B-4F5C-022E-407ADC682CFD}"/>
              </a:ext>
            </a:extLst>
          </p:cNvPr>
          <p:cNvSpPr txBox="1"/>
          <p:nvPr/>
        </p:nvSpPr>
        <p:spPr>
          <a:xfrm>
            <a:off x="2973440" y="4034898"/>
            <a:ext cx="162772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Private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with Mentors and Staff</a:t>
            </a: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2CC8B8C7-DA42-4ADC-7C88-B3F0052F819A}"/>
              </a:ext>
            </a:extLst>
          </p:cNvPr>
          <p:cNvSpPr/>
          <p:nvPr/>
        </p:nvSpPr>
        <p:spPr>
          <a:xfrm>
            <a:off x="3027792" y="2509456"/>
            <a:ext cx="1492837" cy="1415272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Flecha: hacia abajo 2">
            <a:extLst>
              <a:ext uri="{FF2B5EF4-FFF2-40B4-BE49-F238E27FC236}">
                <a16:creationId xmlns:a16="http://schemas.microsoft.com/office/drawing/2014/main" id="{2A2D364E-1BD3-490C-725C-2BD1BF3C5EFB}"/>
              </a:ext>
            </a:extLst>
          </p:cNvPr>
          <p:cNvSpPr/>
          <p:nvPr/>
        </p:nvSpPr>
        <p:spPr>
          <a:xfrm rot="2494196">
            <a:off x="4550543" y="1833758"/>
            <a:ext cx="513708" cy="647626"/>
          </a:xfrm>
          <a:prstGeom prst="downArrow">
            <a:avLst/>
          </a:prstGeom>
          <a:solidFill>
            <a:srgbClr val="B3453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889827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r>
              <a:rPr lang="es-ES">
                <a:latin typeface="Trebuchet MS"/>
              </a:rPr>
              <a:t> – </a:t>
            </a:r>
            <a:r>
              <a:rPr lang="es-ES" err="1">
                <a:latin typeface="Trebuchet MS"/>
              </a:rPr>
              <a:t>Private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ommunication</a:t>
            </a:r>
            <a:endParaRPr lang="es-ES">
              <a:latin typeface="Trebuchet MS"/>
            </a:endParaRPr>
          </a:p>
        </p:txBody>
      </p:sp>
      <p:pic>
        <p:nvPicPr>
          <p:cNvPr id="3078" name="Picture 6">
            <a:extLst>
              <a:ext uri="{FF2B5EF4-FFF2-40B4-BE49-F238E27FC236}">
                <a16:creationId xmlns:a16="http://schemas.microsoft.com/office/drawing/2014/main" id="{F1B342D9-9FB4-4667-2E2A-16A3F0AFBA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567" y="1860956"/>
            <a:ext cx="9516866" cy="450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stomShape 6">
            <a:extLst>
              <a:ext uri="{FF2B5EF4-FFF2-40B4-BE49-F238E27FC236}">
                <a16:creationId xmlns:a16="http://schemas.microsoft.com/office/drawing/2014/main" id="{8FC33FC6-F38D-2C0A-6965-8A90B9DA67B9}"/>
              </a:ext>
            </a:extLst>
          </p:cNvPr>
          <p:cNvSpPr/>
          <p:nvPr/>
        </p:nvSpPr>
        <p:spPr>
          <a:xfrm>
            <a:off x="2714576" y="4441564"/>
            <a:ext cx="7343179" cy="987647"/>
          </a:xfrm>
          <a:prstGeom prst="rect">
            <a:avLst/>
          </a:prstGeom>
          <a:ln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2800" b="0" strike="noStrike" spc="-1">
                <a:solidFill>
                  <a:srgbClr val="B34534"/>
                </a:solidFill>
                <a:latin typeface="Arial Black" panose="020B0A04020102020204" pitchFamily="34" charset="0"/>
              </a:rPr>
              <a:t>Videoconferences will be scheduled for the mentoring sessions</a:t>
            </a:r>
          </a:p>
        </p:txBody>
      </p:sp>
      <p:sp>
        <p:nvSpPr>
          <p:cNvPr id="5" name="CustomShape 4">
            <a:extLst>
              <a:ext uri="{FF2B5EF4-FFF2-40B4-BE49-F238E27FC236}">
                <a16:creationId xmlns:a16="http://schemas.microsoft.com/office/drawing/2014/main" id="{B67E2C6B-D0DD-682F-BD70-84BE94C6E02C}"/>
              </a:ext>
            </a:extLst>
          </p:cNvPr>
          <p:cNvSpPr/>
          <p:nvPr/>
        </p:nvSpPr>
        <p:spPr>
          <a:xfrm>
            <a:off x="1764611" y="3331204"/>
            <a:ext cx="2036827" cy="17228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1764611" y="2154425"/>
            <a:ext cx="1227253" cy="883310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14" name="Flecha: hacia abajo 13">
            <a:extLst>
              <a:ext uri="{FF2B5EF4-FFF2-40B4-BE49-F238E27FC236}">
                <a16:creationId xmlns:a16="http://schemas.microsoft.com/office/drawing/2014/main" id="{F6A9C7D2-E437-A70E-97DC-83510CA0E795}"/>
              </a:ext>
            </a:extLst>
          </p:cNvPr>
          <p:cNvSpPr/>
          <p:nvPr/>
        </p:nvSpPr>
        <p:spPr>
          <a:xfrm rot="12728830">
            <a:off x="9411127" y="2300653"/>
            <a:ext cx="513708" cy="647626"/>
          </a:xfrm>
          <a:prstGeom prst="downArrow">
            <a:avLst/>
          </a:prstGeom>
          <a:solidFill>
            <a:srgbClr val="B3453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CustomShape 4">
            <a:extLst>
              <a:ext uri="{FF2B5EF4-FFF2-40B4-BE49-F238E27FC236}">
                <a16:creationId xmlns:a16="http://schemas.microsoft.com/office/drawing/2014/main" id="{0E94668D-1844-2721-8D4E-5AA149A48171}"/>
              </a:ext>
            </a:extLst>
          </p:cNvPr>
          <p:cNvSpPr/>
          <p:nvPr/>
        </p:nvSpPr>
        <p:spPr>
          <a:xfrm>
            <a:off x="9657708" y="1951148"/>
            <a:ext cx="636998" cy="203277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1887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8394BB-3E42-172B-DB7B-4967809E3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>
            <a:noAutofit/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919945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endParaRPr lang="es-ES">
              <a:latin typeface="Trebuchet M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EDCF705-99B3-2ED4-63F4-EE006697E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442" y="1860956"/>
            <a:ext cx="7219929" cy="4406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31">
            <a:extLst>
              <a:ext uri="{FF2B5EF4-FFF2-40B4-BE49-F238E27FC236}">
                <a16:creationId xmlns:a16="http://schemas.microsoft.com/office/drawing/2014/main" id="{A69A2E0C-F34B-4F5C-022E-407ADC682CFD}"/>
              </a:ext>
            </a:extLst>
          </p:cNvPr>
          <p:cNvSpPr txBox="1"/>
          <p:nvPr/>
        </p:nvSpPr>
        <p:spPr>
          <a:xfrm>
            <a:off x="4555267" y="4064096"/>
            <a:ext cx="1627721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General Communication</a:t>
            </a: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2CC8B8C7-DA42-4ADC-7C88-B3F0052F819A}"/>
              </a:ext>
            </a:extLst>
          </p:cNvPr>
          <p:cNvSpPr/>
          <p:nvPr/>
        </p:nvSpPr>
        <p:spPr>
          <a:xfrm>
            <a:off x="4621709" y="2558265"/>
            <a:ext cx="1494839" cy="134211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Flecha: hacia abajo 2">
            <a:extLst>
              <a:ext uri="{FF2B5EF4-FFF2-40B4-BE49-F238E27FC236}">
                <a16:creationId xmlns:a16="http://schemas.microsoft.com/office/drawing/2014/main" id="{2A2D364E-1BD3-490C-725C-2BD1BF3C5EFB}"/>
              </a:ext>
            </a:extLst>
          </p:cNvPr>
          <p:cNvSpPr/>
          <p:nvPr/>
        </p:nvSpPr>
        <p:spPr>
          <a:xfrm rot="2494196">
            <a:off x="6153578" y="1743332"/>
            <a:ext cx="513708" cy="653656"/>
          </a:xfrm>
          <a:prstGeom prst="downArrow">
            <a:avLst/>
          </a:prstGeom>
          <a:solidFill>
            <a:srgbClr val="B3453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059845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r>
              <a:rPr lang="es-ES">
                <a:latin typeface="Trebuchet MS"/>
              </a:rPr>
              <a:t> – General </a:t>
            </a:r>
            <a:r>
              <a:rPr lang="es-ES" err="1">
                <a:latin typeface="Trebuchet MS"/>
              </a:rPr>
              <a:t>communication</a:t>
            </a:r>
            <a:endParaRPr lang="es-ES">
              <a:latin typeface="Trebuchet MS"/>
            </a:endParaRPr>
          </a:p>
        </p:txBody>
      </p:sp>
      <p:sp>
        <p:nvSpPr>
          <p:cNvPr id="5" name="TextBox 29">
            <a:extLst>
              <a:ext uri="{FF2B5EF4-FFF2-40B4-BE49-F238E27FC236}">
                <a16:creationId xmlns:a16="http://schemas.microsoft.com/office/drawing/2014/main" id="{1397A699-DB91-5132-4B95-D2D9D6E52262}"/>
              </a:ext>
            </a:extLst>
          </p:cNvPr>
          <p:cNvSpPr txBox="1"/>
          <p:nvPr/>
        </p:nvSpPr>
        <p:spPr>
          <a:xfrm>
            <a:off x="4751458" y="4064096"/>
            <a:ext cx="1256932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General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294C1FB7-1353-367F-B706-7DDF64F8837D}"/>
              </a:ext>
            </a:extLst>
          </p:cNvPr>
          <p:cNvSpPr/>
          <p:nvPr/>
        </p:nvSpPr>
        <p:spPr>
          <a:xfrm>
            <a:off x="4620415" y="2499182"/>
            <a:ext cx="1519018" cy="144609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A69A2E0C-F34B-4F5C-022E-407ADC682CFD}"/>
              </a:ext>
            </a:extLst>
          </p:cNvPr>
          <p:cNvSpPr txBox="1"/>
          <p:nvPr/>
        </p:nvSpPr>
        <p:spPr>
          <a:xfrm>
            <a:off x="2973440" y="4034898"/>
            <a:ext cx="162772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Private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with Mentors and Staff</a:t>
            </a: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2CC8B8C7-DA42-4ADC-7C88-B3F0052F819A}"/>
              </a:ext>
            </a:extLst>
          </p:cNvPr>
          <p:cNvSpPr/>
          <p:nvPr/>
        </p:nvSpPr>
        <p:spPr>
          <a:xfrm>
            <a:off x="3027792" y="2499182"/>
            <a:ext cx="1519018" cy="144609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303F3A23-7369-1F73-8186-3EC9ECDF26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6035" y="1860956"/>
            <a:ext cx="7219929" cy="4423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stomShape 4">
            <a:extLst>
              <a:ext uri="{FF2B5EF4-FFF2-40B4-BE49-F238E27FC236}">
                <a16:creationId xmlns:a16="http://schemas.microsoft.com/office/drawing/2014/main" id="{E48C03B2-B85A-C3D3-4690-C68B0471FD90}"/>
              </a:ext>
            </a:extLst>
          </p:cNvPr>
          <p:cNvSpPr/>
          <p:nvPr/>
        </p:nvSpPr>
        <p:spPr>
          <a:xfrm>
            <a:off x="2913091" y="2174364"/>
            <a:ext cx="1227253" cy="883310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4" name="CustomShape 4">
            <a:extLst>
              <a:ext uri="{FF2B5EF4-FFF2-40B4-BE49-F238E27FC236}">
                <a16:creationId xmlns:a16="http://schemas.microsoft.com/office/drawing/2014/main" id="{D9C63476-5D58-F9EA-C28F-80919341DC82}"/>
              </a:ext>
            </a:extLst>
          </p:cNvPr>
          <p:cNvSpPr/>
          <p:nvPr/>
        </p:nvSpPr>
        <p:spPr>
          <a:xfrm>
            <a:off x="2923365" y="3136087"/>
            <a:ext cx="1707325" cy="161917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94324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Download</a:t>
            </a:r>
            <a:r>
              <a:rPr lang="es-ES">
                <a:latin typeface="Trebuchet MS"/>
              </a:rPr>
              <a:t> data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25713CC-54A3-3EF8-3ABD-4607268772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974" y="1860956"/>
            <a:ext cx="9516866" cy="448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1670112" y="2154633"/>
            <a:ext cx="1227253" cy="883310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5" name="CustomShape 4">
            <a:extLst>
              <a:ext uri="{FF2B5EF4-FFF2-40B4-BE49-F238E27FC236}">
                <a16:creationId xmlns:a16="http://schemas.microsoft.com/office/drawing/2014/main" id="{B67E2C6B-D0DD-682F-BD70-84BE94C6E02C}"/>
              </a:ext>
            </a:extLst>
          </p:cNvPr>
          <p:cNvSpPr/>
          <p:nvPr/>
        </p:nvSpPr>
        <p:spPr>
          <a:xfrm>
            <a:off x="1670112" y="3149062"/>
            <a:ext cx="2036827" cy="17228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CustomShape 4">
            <a:extLst>
              <a:ext uri="{FF2B5EF4-FFF2-40B4-BE49-F238E27FC236}">
                <a16:creationId xmlns:a16="http://schemas.microsoft.com/office/drawing/2014/main" id="{74BE2DD2-234B-BAAB-FAA8-C07C3E363BDF}"/>
              </a:ext>
            </a:extLst>
          </p:cNvPr>
          <p:cNvSpPr/>
          <p:nvPr/>
        </p:nvSpPr>
        <p:spPr>
          <a:xfrm>
            <a:off x="3924728" y="3138788"/>
            <a:ext cx="1099335" cy="26966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CustomShape 4">
            <a:extLst>
              <a:ext uri="{FF2B5EF4-FFF2-40B4-BE49-F238E27FC236}">
                <a16:creationId xmlns:a16="http://schemas.microsoft.com/office/drawing/2014/main" id="{ACD71D4D-C366-F596-9A3E-011B7F1B2C56}"/>
              </a:ext>
            </a:extLst>
          </p:cNvPr>
          <p:cNvSpPr/>
          <p:nvPr/>
        </p:nvSpPr>
        <p:spPr>
          <a:xfrm>
            <a:off x="4868241" y="1953645"/>
            <a:ext cx="361305" cy="200988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21220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Download</a:t>
            </a:r>
            <a:r>
              <a:rPr lang="es-ES">
                <a:latin typeface="Trebuchet MS"/>
              </a:rPr>
              <a:t> data</a:t>
            </a:r>
          </a:p>
        </p:txBody>
      </p:sp>
      <p:pic>
        <p:nvPicPr>
          <p:cNvPr id="6148" name="Picture 4">
            <a:extLst>
              <a:ext uri="{FF2B5EF4-FFF2-40B4-BE49-F238E27FC236}">
                <a16:creationId xmlns:a16="http://schemas.microsoft.com/office/drawing/2014/main" id="{C6F15569-07A3-A56E-A659-4A6AD626E5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8726" y="1860956"/>
            <a:ext cx="8594547" cy="4490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ustomShape 4">
            <a:extLst>
              <a:ext uri="{FF2B5EF4-FFF2-40B4-BE49-F238E27FC236}">
                <a16:creationId xmlns:a16="http://schemas.microsoft.com/office/drawing/2014/main" id="{B67E2C6B-D0DD-682F-BD70-84BE94C6E02C}"/>
              </a:ext>
            </a:extLst>
          </p:cNvPr>
          <p:cNvSpPr/>
          <p:nvPr/>
        </p:nvSpPr>
        <p:spPr>
          <a:xfrm>
            <a:off x="2188397" y="3027669"/>
            <a:ext cx="1888414" cy="177868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2188397" y="2109308"/>
            <a:ext cx="1227253" cy="849649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CustomShape 4">
            <a:extLst>
              <a:ext uri="{FF2B5EF4-FFF2-40B4-BE49-F238E27FC236}">
                <a16:creationId xmlns:a16="http://schemas.microsoft.com/office/drawing/2014/main" id="{ACD71D4D-C366-F596-9A3E-011B7F1B2C56}"/>
              </a:ext>
            </a:extLst>
          </p:cNvPr>
          <p:cNvSpPr/>
          <p:nvPr/>
        </p:nvSpPr>
        <p:spPr>
          <a:xfrm>
            <a:off x="6729574" y="2208664"/>
            <a:ext cx="647272" cy="246860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CustomShape 4">
            <a:extLst>
              <a:ext uri="{FF2B5EF4-FFF2-40B4-BE49-F238E27FC236}">
                <a16:creationId xmlns:a16="http://schemas.microsoft.com/office/drawing/2014/main" id="{3D20BE23-5688-A813-F795-620EF367DA18}"/>
              </a:ext>
            </a:extLst>
          </p:cNvPr>
          <p:cNvSpPr/>
          <p:nvPr/>
        </p:nvSpPr>
        <p:spPr>
          <a:xfrm>
            <a:off x="5258658" y="2542694"/>
            <a:ext cx="289387" cy="149135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93302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Download</a:t>
            </a:r>
            <a:r>
              <a:rPr lang="es-ES">
                <a:latin typeface="Trebuchet MS"/>
              </a:rPr>
              <a:t> data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25713CC-54A3-3EF8-3ABD-4607268772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974" y="1860956"/>
            <a:ext cx="9516866" cy="448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1670112" y="2154633"/>
            <a:ext cx="1227253" cy="883310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5" name="CustomShape 4">
            <a:extLst>
              <a:ext uri="{FF2B5EF4-FFF2-40B4-BE49-F238E27FC236}">
                <a16:creationId xmlns:a16="http://schemas.microsoft.com/office/drawing/2014/main" id="{B67E2C6B-D0DD-682F-BD70-84BE94C6E02C}"/>
              </a:ext>
            </a:extLst>
          </p:cNvPr>
          <p:cNvSpPr/>
          <p:nvPr/>
        </p:nvSpPr>
        <p:spPr>
          <a:xfrm>
            <a:off x="1670112" y="3149062"/>
            <a:ext cx="2036827" cy="17228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CustomShape 4">
            <a:extLst>
              <a:ext uri="{FF2B5EF4-FFF2-40B4-BE49-F238E27FC236}">
                <a16:creationId xmlns:a16="http://schemas.microsoft.com/office/drawing/2014/main" id="{74BE2DD2-234B-BAAB-FAA8-C07C3E363BDF}"/>
              </a:ext>
            </a:extLst>
          </p:cNvPr>
          <p:cNvSpPr/>
          <p:nvPr/>
        </p:nvSpPr>
        <p:spPr>
          <a:xfrm>
            <a:off x="3924728" y="3416186"/>
            <a:ext cx="1099335" cy="26966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CustomShape 4">
            <a:extLst>
              <a:ext uri="{FF2B5EF4-FFF2-40B4-BE49-F238E27FC236}">
                <a16:creationId xmlns:a16="http://schemas.microsoft.com/office/drawing/2014/main" id="{ACD71D4D-C366-F596-9A3E-011B7F1B2C56}"/>
              </a:ext>
            </a:extLst>
          </p:cNvPr>
          <p:cNvSpPr/>
          <p:nvPr/>
        </p:nvSpPr>
        <p:spPr>
          <a:xfrm>
            <a:off x="4868241" y="1953645"/>
            <a:ext cx="361305" cy="200988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13710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Submit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presentation</a:t>
            </a:r>
            <a:r>
              <a:rPr lang="es-ES">
                <a:latin typeface="Trebuchet MS"/>
              </a:rPr>
              <a:t> &amp; </a:t>
            </a:r>
            <a:r>
              <a:rPr lang="es-ES" err="1">
                <a:latin typeface="Trebuchet MS"/>
              </a:rPr>
              <a:t>code</a:t>
            </a:r>
            <a:r>
              <a:rPr lang="es-ES">
                <a:latin typeface="Trebuchet MS"/>
              </a:rPr>
              <a:t> TOP 5</a:t>
            </a:r>
          </a:p>
        </p:txBody>
      </p:sp>
      <p:pic>
        <p:nvPicPr>
          <p:cNvPr id="8194" name="Picture 2" descr="Imatge que conté text&#10;&#10;Descripció generada automàticament">
            <a:extLst>
              <a:ext uri="{FF2B5EF4-FFF2-40B4-BE49-F238E27FC236}">
                <a16:creationId xmlns:a16="http://schemas.microsoft.com/office/drawing/2014/main" id="{9B98F9B2-0B6A-DFCE-A9D9-ED6E984FB3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321" y="1860956"/>
            <a:ext cx="9143358" cy="4485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2009159" y="2206003"/>
            <a:ext cx="1391587" cy="968712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CustomShape 4">
            <a:extLst>
              <a:ext uri="{FF2B5EF4-FFF2-40B4-BE49-F238E27FC236}">
                <a16:creationId xmlns:a16="http://schemas.microsoft.com/office/drawing/2014/main" id="{74BE2DD2-234B-BAAB-FAA8-C07C3E363BDF}"/>
              </a:ext>
            </a:extLst>
          </p:cNvPr>
          <p:cNvSpPr/>
          <p:nvPr/>
        </p:nvSpPr>
        <p:spPr>
          <a:xfrm>
            <a:off x="4318573" y="3294167"/>
            <a:ext cx="2051405" cy="312061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CustomShape 4">
            <a:extLst>
              <a:ext uri="{FF2B5EF4-FFF2-40B4-BE49-F238E27FC236}">
                <a16:creationId xmlns:a16="http://schemas.microsoft.com/office/drawing/2014/main" id="{ACD71D4D-C366-F596-9A3E-011B7F1B2C56}"/>
              </a:ext>
            </a:extLst>
          </p:cNvPr>
          <p:cNvSpPr/>
          <p:nvPr/>
        </p:nvSpPr>
        <p:spPr>
          <a:xfrm>
            <a:off x="5354549" y="1968944"/>
            <a:ext cx="361305" cy="200988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4" name="CustomShape 4">
            <a:extLst>
              <a:ext uri="{FF2B5EF4-FFF2-40B4-BE49-F238E27FC236}">
                <a16:creationId xmlns:a16="http://schemas.microsoft.com/office/drawing/2014/main" id="{E76924BF-3CEA-17E4-6EC1-12CAB81EECEB}"/>
              </a:ext>
            </a:extLst>
          </p:cNvPr>
          <p:cNvSpPr/>
          <p:nvPr/>
        </p:nvSpPr>
        <p:spPr>
          <a:xfrm>
            <a:off x="7315200" y="2287300"/>
            <a:ext cx="805966" cy="281239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3E3BFD44-03D6-0EB2-C4EB-2421FDBC2B12}"/>
              </a:ext>
            </a:extLst>
          </p:cNvPr>
          <p:cNvSpPr/>
          <p:nvPr/>
        </p:nvSpPr>
        <p:spPr>
          <a:xfrm>
            <a:off x="5483831" y="2640296"/>
            <a:ext cx="805966" cy="281239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9" name="Flecha: hacia abajo 8">
            <a:extLst>
              <a:ext uri="{FF2B5EF4-FFF2-40B4-BE49-F238E27FC236}">
                <a16:creationId xmlns:a16="http://schemas.microsoft.com/office/drawing/2014/main" id="{1E52A855-372F-E320-1D5F-A1A15FC62EF9}"/>
              </a:ext>
            </a:extLst>
          </p:cNvPr>
          <p:cNvSpPr/>
          <p:nvPr/>
        </p:nvSpPr>
        <p:spPr>
          <a:xfrm rot="2494196">
            <a:off x="6441969" y="2671971"/>
            <a:ext cx="513708" cy="653656"/>
          </a:xfrm>
          <a:prstGeom prst="downArrow">
            <a:avLst/>
          </a:prstGeom>
          <a:solidFill>
            <a:srgbClr val="B3453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stomShape 4">
            <a:extLst>
              <a:ext uri="{FF2B5EF4-FFF2-40B4-BE49-F238E27FC236}">
                <a16:creationId xmlns:a16="http://schemas.microsoft.com/office/drawing/2014/main" id="{3170FA6D-CEE7-EC86-11EE-BB6E9FF39C95}"/>
              </a:ext>
            </a:extLst>
          </p:cNvPr>
          <p:cNvSpPr/>
          <p:nvPr/>
        </p:nvSpPr>
        <p:spPr>
          <a:xfrm>
            <a:off x="1998885" y="3324989"/>
            <a:ext cx="2036827" cy="17228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9528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Communication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Channel</a:t>
            </a:r>
            <a:r>
              <a:rPr lang="es-ES">
                <a:latin typeface="Trebuchet MS"/>
              </a:rPr>
              <a:t> – General </a:t>
            </a:r>
            <a:r>
              <a:rPr lang="es-ES" err="1">
                <a:latin typeface="Trebuchet MS"/>
              </a:rPr>
              <a:t>communication</a:t>
            </a:r>
            <a:endParaRPr lang="es-ES">
              <a:latin typeface="Trebuchet MS"/>
            </a:endParaRPr>
          </a:p>
        </p:txBody>
      </p:sp>
      <p:sp>
        <p:nvSpPr>
          <p:cNvPr id="5" name="TextBox 29">
            <a:extLst>
              <a:ext uri="{FF2B5EF4-FFF2-40B4-BE49-F238E27FC236}">
                <a16:creationId xmlns:a16="http://schemas.microsoft.com/office/drawing/2014/main" id="{1397A699-DB91-5132-4B95-D2D9D6E52262}"/>
              </a:ext>
            </a:extLst>
          </p:cNvPr>
          <p:cNvSpPr txBox="1"/>
          <p:nvPr/>
        </p:nvSpPr>
        <p:spPr>
          <a:xfrm>
            <a:off x="4751458" y="4064096"/>
            <a:ext cx="1256932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General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stomShape 4">
            <a:extLst>
              <a:ext uri="{FF2B5EF4-FFF2-40B4-BE49-F238E27FC236}">
                <a16:creationId xmlns:a16="http://schemas.microsoft.com/office/drawing/2014/main" id="{294C1FB7-1353-367F-B706-7DDF64F8837D}"/>
              </a:ext>
            </a:extLst>
          </p:cNvPr>
          <p:cNvSpPr/>
          <p:nvPr/>
        </p:nvSpPr>
        <p:spPr>
          <a:xfrm>
            <a:off x="4620415" y="2499182"/>
            <a:ext cx="1519018" cy="144609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7" name="TextBox 31">
            <a:extLst>
              <a:ext uri="{FF2B5EF4-FFF2-40B4-BE49-F238E27FC236}">
                <a16:creationId xmlns:a16="http://schemas.microsoft.com/office/drawing/2014/main" id="{A69A2E0C-F34B-4F5C-022E-407ADC682CFD}"/>
              </a:ext>
            </a:extLst>
          </p:cNvPr>
          <p:cNvSpPr txBox="1"/>
          <p:nvPr/>
        </p:nvSpPr>
        <p:spPr>
          <a:xfrm>
            <a:off x="2973440" y="4034898"/>
            <a:ext cx="1627721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Private</a:t>
            </a:r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200" spc="-1">
                <a:solidFill>
                  <a:srgbClr val="D80249"/>
                </a:solidFill>
                <a:latin typeface="Arial"/>
                <a:cs typeface="Arial"/>
              </a:rPr>
              <a:t>Communication </a:t>
            </a:r>
            <a:endParaRPr lang="en-GB" sz="1200" b="0" strike="noStrike" spc="-1">
              <a:solidFill>
                <a:srgbClr val="D802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200" b="0" strike="noStrike" spc="-1">
                <a:solidFill>
                  <a:srgbClr val="D80249"/>
                </a:solidFill>
                <a:latin typeface="Arial"/>
                <a:cs typeface="Arial"/>
              </a:rPr>
              <a:t>with Mentors and Staff</a:t>
            </a: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2CC8B8C7-DA42-4ADC-7C88-B3F0052F819A}"/>
              </a:ext>
            </a:extLst>
          </p:cNvPr>
          <p:cNvSpPr/>
          <p:nvPr/>
        </p:nvSpPr>
        <p:spPr>
          <a:xfrm>
            <a:off x="3027792" y="2499182"/>
            <a:ext cx="1519018" cy="1446094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303F3A23-7369-1F73-8186-3EC9ECDF26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6035" y="1860956"/>
            <a:ext cx="7219929" cy="4423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stomShape 4">
            <a:extLst>
              <a:ext uri="{FF2B5EF4-FFF2-40B4-BE49-F238E27FC236}">
                <a16:creationId xmlns:a16="http://schemas.microsoft.com/office/drawing/2014/main" id="{E48C03B2-B85A-C3D3-4690-C68B0471FD90}"/>
              </a:ext>
            </a:extLst>
          </p:cNvPr>
          <p:cNvSpPr/>
          <p:nvPr/>
        </p:nvSpPr>
        <p:spPr>
          <a:xfrm>
            <a:off x="2913091" y="2174364"/>
            <a:ext cx="1227253" cy="883310"/>
          </a:xfrm>
          <a:prstGeom prst="rect">
            <a:avLst/>
          </a:prstGeom>
          <a:noFill/>
          <a:ln w="19050">
            <a:solidFill>
              <a:srgbClr val="D80249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4" name="CustomShape 4">
            <a:extLst>
              <a:ext uri="{FF2B5EF4-FFF2-40B4-BE49-F238E27FC236}">
                <a16:creationId xmlns:a16="http://schemas.microsoft.com/office/drawing/2014/main" id="{D9C63476-5D58-F9EA-C28F-80919341DC82}"/>
              </a:ext>
            </a:extLst>
          </p:cNvPr>
          <p:cNvSpPr/>
          <p:nvPr/>
        </p:nvSpPr>
        <p:spPr>
          <a:xfrm>
            <a:off x="2923365" y="3310745"/>
            <a:ext cx="1707325" cy="161917"/>
          </a:xfrm>
          <a:prstGeom prst="rect">
            <a:avLst/>
          </a:prstGeom>
          <a:noFill/>
          <a:ln w="28575">
            <a:solidFill>
              <a:srgbClr val="D80249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21002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983E77-F87B-B27E-946B-1D7B76337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Platform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login</a:t>
            </a:r>
            <a:endParaRPr lang="es-ES">
              <a:latin typeface="Trebuchet MS"/>
            </a:endParaRPr>
          </a:p>
        </p:txBody>
      </p:sp>
      <p:sp>
        <p:nvSpPr>
          <p:cNvPr id="5" name="CustomShape 6">
            <a:extLst>
              <a:ext uri="{FF2B5EF4-FFF2-40B4-BE49-F238E27FC236}">
                <a16:creationId xmlns:a16="http://schemas.microsoft.com/office/drawing/2014/main" id="{A3B5ADFC-472B-39C3-F2C8-F38A259599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7208" y="2163029"/>
            <a:ext cx="3939283" cy="1597313"/>
          </a:xfrm>
          <a:prstGeom prst="rect">
            <a:avLst/>
          </a:prstGeom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50000"/>
              </a:lnSpc>
              <a:buNone/>
            </a:pPr>
            <a:r>
              <a:rPr lang="en-GB" sz="1800" b="1" strike="noStrike" spc="-1">
                <a:solidFill>
                  <a:srgbClr val="000000"/>
                </a:solidFill>
                <a:latin typeface="Arial"/>
              </a:rPr>
              <a:t>Credentials</a:t>
            </a:r>
            <a:endParaRPr lang="en-GB" sz="1800" b="0" strike="noStrike" spc="-1">
              <a:latin typeface="Arial"/>
            </a:endParaRPr>
          </a:p>
          <a:p>
            <a:pPr indent="0">
              <a:lnSpc>
                <a:spcPct val="150000"/>
              </a:lnSpc>
              <a:buNone/>
            </a:pPr>
            <a:r>
              <a:rPr lang="en-GB" sz="1800" b="0" strike="noStrike" spc="-1">
                <a:solidFill>
                  <a:srgbClr val="000000"/>
                </a:solidFill>
                <a:latin typeface="Arial"/>
              </a:rPr>
              <a:t>user: </a:t>
            </a:r>
            <a:r>
              <a:rPr lang="en-GB" sz="1800" b="0" strike="noStrike" spc="-1" err="1">
                <a:solidFill>
                  <a:srgbClr val="000000"/>
                </a:solidFill>
                <a:latin typeface="Arial"/>
              </a:rPr>
              <a:t>teamX@novartisdatathon</a:t>
            </a:r>
            <a:endParaRPr lang="en-GB" sz="1800" b="0" strike="noStrike" spc="-1">
              <a:latin typeface="Arial"/>
            </a:endParaRPr>
          </a:p>
          <a:p>
            <a:pPr indent="0">
              <a:lnSpc>
                <a:spcPct val="150000"/>
              </a:lnSpc>
              <a:buNone/>
            </a:pPr>
            <a:r>
              <a:rPr lang="en-GB" sz="1800" b="0" strike="noStrike" spc="-1">
                <a:solidFill>
                  <a:srgbClr val="000000"/>
                </a:solidFill>
                <a:latin typeface="Arial"/>
              </a:rPr>
              <a:t>password: </a:t>
            </a:r>
            <a:r>
              <a:rPr lang="en-GB" sz="1800" b="0" strike="noStrike" spc="-1" err="1">
                <a:solidFill>
                  <a:srgbClr val="000000"/>
                </a:solidFill>
                <a:latin typeface="Arial"/>
              </a:rPr>
              <a:t>pwdteamX</a:t>
            </a:r>
            <a:endParaRPr lang="en-GB" sz="1800" b="0" strike="noStrike" spc="-1">
              <a:latin typeface="Arial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49EB5FF1-675A-CCE4-60F6-CDC6D8399D56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6323" y="2163029"/>
            <a:ext cx="6361587" cy="3386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o 5">
            <a:extLst>
              <a:ext uri="{FF2B5EF4-FFF2-40B4-BE49-F238E27FC236}">
                <a16:creationId xmlns:a16="http://schemas.microsoft.com/office/drawing/2014/main" id="{99944C7F-77B4-5E42-D1AD-41EDDF2DEAF9}"/>
              </a:ext>
            </a:extLst>
          </p:cNvPr>
          <p:cNvGrpSpPr/>
          <p:nvPr/>
        </p:nvGrpSpPr>
        <p:grpSpPr>
          <a:xfrm>
            <a:off x="6551582" y="2229688"/>
            <a:ext cx="3551068" cy="1189351"/>
            <a:chOff x="1020932" y="4474345"/>
            <a:chExt cx="3551068" cy="1189351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6CB93248-DD60-6CE0-02E5-1326FE2EEC86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3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C9C45472-08DA-F196-ED23-3FB444EB09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460343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B364BA-1736-7FA7-78A2-57312D455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GB">
                <a:latin typeface="Trebuchet MS"/>
              </a:rPr>
              <a:t>How to submit results – Change the password</a:t>
            </a:r>
          </a:p>
        </p:txBody>
      </p:sp>
      <p:pic>
        <p:nvPicPr>
          <p:cNvPr id="5122" name="Picture 2" descr="Imatge que conté text&#10;&#10;Descripció generada automàticament">
            <a:extLst>
              <a:ext uri="{FF2B5EF4-FFF2-40B4-BE49-F238E27FC236}">
                <a16:creationId xmlns:a16="http://schemas.microsoft.com/office/drawing/2014/main" id="{D355F75F-2FD9-0BA9-2B9B-B2AC53A8E4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49" y="1860956"/>
            <a:ext cx="7641484" cy="2618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tge que conté text&#10;&#10;Descripció generada automàticament">
            <a:extLst>
              <a:ext uri="{FF2B5EF4-FFF2-40B4-BE49-F238E27FC236}">
                <a16:creationId xmlns:a16="http://schemas.microsoft.com/office/drawing/2014/main" id="{42B238C5-F6D6-C3A1-57AA-6116757CA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297" y="3189162"/>
            <a:ext cx="8339780" cy="2580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ustomShape 5">
            <a:extLst>
              <a:ext uri="{FF2B5EF4-FFF2-40B4-BE49-F238E27FC236}">
                <a16:creationId xmlns:a16="http://schemas.microsoft.com/office/drawing/2014/main" id="{A43BA39C-C08F-1624-78DD-1B2B876D3D86}"/>
              </a:ext>
            </a:extLst>
          </p:cNvPr>
          <p:cNvSpPr/>
          <p:nvPr/>
        </p:nvSpPr>
        <p:spPr>
          <a:xfrm>
            <a:off x="6393850" y="3658910"/>
            <a:ext cx="501840" cy="4183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60">
            <a:solidFill>
              <a:srgbClr val="B34534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0" tIns="0" rIns="0" bIns="0" anchor="ctr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pc="-1">
                <a:solidFill>
                  <a:srgbClr val="023761"/>
                </a:solidFill>
                <a:latin typeface="Arial"/>
              </a:rPr>
              <a:t>2</a:t>
            </a:r>
            <a:endParaRPr lang="en-GB" sz="1800" b="0" strike="noStrike" spc="-1">
              <a:latin typeface="Arial"/>
            </a:endParaRPr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58BCB216-4EBF-CC3A-D321-CBFC172B3C36}"/>
              </a:ext>
            </a:extLst>
          </p:cNvPr>
          <p:cNvSpPr/>
          <p:nvPr/>
        </p:nvSpPr>
        <p:spPr>
          <a:xfrm rot="-2460000">
            <a:off x="6022258" y="4031225"/>
            <a:ext cx="426064" cy="352322"/>
          </a:xfrm>
          <a:prstGeom prst="leftArrow">
            <a:avLst/>
          </a:prstGeom>
          <a:solidFill>
            <a:srgbClr val="B345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CustomShape 5">
            <a:extLst>
              <a:ext uri="{FF2B5EF4-FFF2-40B4-BE49-F238E27FC236}">
                <a16:creationId xmlns:a16="http://schemas.microsoft.com/office/drawing/2014/main" id="{69880355-D13A-7606-E8ED-C817D4AA4D06}"/>
              </a:ext>
            </a:extLst>
          </p:cNvPr>
          <p:cNvSpPr/>
          <p:nvPr/>
        </p:nvSpPr>
        <p:spPr>
          <a:xfrm>
            <a:off x="8532366" y="1921877"/>
            <a:ext cx="501840" cy="4183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60">
            <a:solidFill>
              <a:srgbClr val="B34534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0" tIns="0" rIns="0" bIns="0" anchor="ctr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pc="-1">
                <a:solidFill>
                  <a:srgbClr val="023761"/>
                </a:solidFill>
                <a:latin typeface="Arial"/>
              </a:rPr>
              <a:t>1</a:t>
            </a:r>
            <a:endParaRPr lang="en-GB" sz="1800" b="0" strike="noStrike" spc="-1">
              <a:latin typeface="Arial"/>
            </a:endParaRP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8E8028A2-75B7-55B3-D5BA-28441CEEDF30}"/>
              </a:ext>
            </a:extLst>
          </p:cNvPr>
          <p:cNvSpPr/>
          <p:nvPr/>
        </p:nvSpPr>
        <p:spPr>
          <a:xfrm>
            <a:off x="8103419" y="1991031"/>
            <a:ext cx="426064" cy="352322"/>
          </a:xfrm>
          <a:prstGeom prst="leftArrow">
            <a:avLst/>
          </a:prstGeom>
          <a:solidFill>
            <a:srgbClr val="B345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A7398BFE-4E55-9532-A319-D0DB550F4278}"/>
              </a:ext>
            </a:extLst>
          </p:cNvPr>
          <p:cNvGrpSpPr/>
          <p:nvPr/>
        </p:nvGrpSpPr>
        <p:grpSpPr>
          <a:xfrm>
            <a:off x="574275" y="1860391"/>
            <a:ext cx="917173" cy="332393"/>
            <a:chOff x="1020932" y="4474345"/>
            <a:chExt cx="3551068" cy="1189351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9C616D4E-7E0C-A849-8FAA-BDDF04AE6EA4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7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79EC8453-62BC-75E5-6457-E31DDC8B23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  <p:grpSp>
        <p:nvGrpSpPr>
          <p:cNvPr id="9" name="Grupo 8">
            <a:extLst>
              <a:ext uri="{FF2B5EF4-FFF2-40B4-BE49-F238E27FC236}">
                <a16:creationId xmlns:a16="http://schemas.microsoft.com/office/drawing/2014/main" id="{0569024F-1008-1D50-3658-9244BD25FF00}"/>
              </a:ext>
            </a:extLst>
          </p:cNvPr>
          <p:cNvGrpSpPr/>
          <p:nvPr/>
        </p:nvGrpSpPr>
        <p:grpSpPr>
          <a:xfrm>
            <a:off x="3459518" y="3189162"/>
            <a:ext cx="917173" cy="332393"/>
            <a:chOff x="1020932" y="4474345"/>
            <a:chExt cx="3551068" cy="1189351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D71809F4-8A60-46CA-95E9-9440A6CC970B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12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0476863C-32BA-3AB3-6238-54DCBDC06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7734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" grpId="0" animBg="1"/>
      <p:bldP spid="4" grpId="0" animBg="1"/>
      <p:bldP spid="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A1F51B-4C5F-5DF3-D72C-842322939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GB">
                <a:latin typeface="Trebuchet MS"/>
              </a:rPr>
              <a:t>How to submit results – Submiss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9DDBCA1-1392-F4CB-2AC3-FE3A43073B0F}"/>
              </a:ext>
            </a:extLst>
          </p:cNvPr>
          <p:cNvGrpSpPr/>
          <p:nvPr/>
        </p:nvGrpSpPr>
        <p:grpSpPr>
          <a:xfrm>
            <a:off x="1524286" y="1954677"/>
            <a:ext cx="8404958" cy="4483875"/>
            <a:chOff x="1806272" y="2120890"/>
            <a:chExt cx="8404958" cy="448387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0F995F0-A87F-3DF8-3768-7B811068730F}"/>
                </a:ext>
              </a:extLst>
            </p:cNvPr>
            <p:cNvGrpSpPr/>
            <p:nvPr/>
          </p:nvGrpSpPr>
          <p:grpSpPr>
            <a:xfrm>
              <a:off x="1806272" y="2120890"/>
              <a:ext cx="8404958" cy="4483875"/>
              <a:chOff x="1875545" y="1992241"/>
              <a:chExt cx="8404958" cy="4483875"/>
            </a:xfrm>
          </p:grpSpPr>
          <p:pic>
            <p:nvPicPr>
              <p:cNvPr id="10" name="Picture 9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4B4A4678-7337-4FEE-414F-B2B6FD43A96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r="42716"/>
              <a:stretch/>
            </p:blipFill>
            <p:spPr>
              <a:xfrm>
                <a:off x="1875545" y="1993138"/>
                <a:ext cx="6588587" cy="4480456"/>
              </a:xfrm>
              <a:prstGeom prst="rect">
                <a:avLst/>
              </a:prstGeom>
            </p:spPr>
          </p:pic>
          <p:pic>
            <p:nvPicPr>
              <p:cNvPr id="14" name="Picture 13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E357EF4C-E50B-60E1-F3AF-5F8E5682E20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83784" r="380" b="-76"/>
              <a:stretch/>
            </p:blipFill>
            <p:spPr>
              <a:xfrm>
                <a:off x="8459072" y="1992241"/>
                <a:ext cx="1821431" cy="4483875"/>
              </a:xfrm>
              <a:prstGeom prst="rect">
                <a:avLst/>
              </a:prstGeom>
            </p:spPr>
          </p:pic>
        </p:grpSp>
        <p:sp>
          <p:nvSpPr>
            <p:cNvPr id="17" name="TextBox 1">
              <a:extLst>
                <a:ext uri="{FF2B5EF4-FFF2-40B4-BE49-F238E27FC236}">
                  <a16:creationId xmlns:a16="http://schemas.microsoft.com/office/drawing/2014/main" id="{B02466FD-D59D-72ED-C96D-037EB3FA7855}"/>
                </a:ext>
              </a:extLst>
            </p:cNvPr>
            <p:cNvSpPr txBox="1"/>
            <p:nvPr/>
          </p:nvSpPr>
          <p:spPr>
            <a:xfrm>
              <a:off x="5334939" y="4191029"/>
              <a:ext cx="1327150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Metric</a:t>
              </a:r>
            </a:p>
          </p:txBody>
        </p:sp>
        <p:sp>
          <p:nvSpPr>
            <p:cNvPr id="18" name="TextBox 1">
              <a:extLst>
                <a:ext uri="{FF2B5EF4-FFF2-40B4-BE49-F238E27FC236}">
                  <a16:creationId xmlns:a16="http://schemas.microsoft.com/office/drawing/2014/main" id="{DC932649-D738-1440-32B6-B294BB18E61D}"/>
                </a:ext>
              </a:extLst>
            </p:cNvPr>
            <p:cNvSpPr txBox="1"/>
            <p:nvPr/>
          </p:nvSpPr>
          <p:spPr>
            <a:xfrm>
              <a:off x="8387274" y="4191029"/>
              <a:ext cx="895306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 panose="020B0604020104020204" pitchFamily="34" charset="0"/>
                  <a:cs typeface="Times New Roman" panose="02020603050405020304" pitchFamily="18" charset="0"/>
                </a:rPr>
                <a:t>Ranking</a:t>
              </a:r>
              <a:endPara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angal" panose="02040503050203030202" pitchFamily="18" charset="0"/>
                <a:cs typeface="Mangal" panose="02040503050203030202" pitchFamily="18" charset="0"/>
              </a:endParaRPr>
            </a:p>
          </p:txBody>
        </p:sp>
        <p:sp>
          <p:nvSpPr>
            <p:cNvPr id="20" name="TextBox 1">
              <a:extLst>
                <a:ext uri="{FF2B5EF4-FFF2-40B4-BE49-F238E27FC236}">
                  <a16:creationId xmlns:a16="http://schemas.microsoft.com/office/drawing/2014/main" id="{F713797A-84ED-9D35-47BE-066AE90CC3DB}"/>
                </a:ext>
              </a:extLst>
            </p:cNvPr>
            <p:cNvSpPr txBox="1"/>
            <p:nvPr/>
          </p:nvSpPr>
          <p:spPr>
            <a:xfrm>
              <a:off x="4127803" y="4192300"/>
              <a:ext cx="1000579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Team</a:t>
              </a:r>
            </a:p>
          </p:txBody>
        </p:sp>
      </p:grpSp>
      <p:sp>
        <p:nvSpPr>
          <p:cNvPr id="24" name="CustomShape 4">
            <a:extLst>
              <a:ext uri="{FF2B5EF4-FFF2-40B4-BE49-F238E27FC236}">
                <a16:creationId xmlns:a16="http://schemas.microsoft.com/office/drawing/2014/main" id="{373E6FAD-13A9-B017-2960-B0534A10C02F}"/>
              </a:ext>
            </a:extLst>
          </p:cNvPr>
          <p:cNvSpPr/>
          <p:nvPr/>
        </p:nvSpPr>
        <p:spPr>
          <a:xfrm>
            <a:off x="1490075" y="2505316"/>
            <a:ext cx="2052612" cy="749725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1440" tIns="45720" rIns="91440" bIns="4572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B34534"/>
              </a:solidFill>
              <a:latin typeface="Arial"/>
              <a:cs typeface="Arial"/>
            </a:endParaRPr>
          </a:p>
        </p:txBody>
      </p:sp>
      <p:sp>
        <p:nvSpPr>
          <p:cNvPr id="25" name="Arrow: Left 24">
            <a:extLst>
              <a:ext uri="{FF2B5EF4-FFF2-40B4-BE49-F238E27FC236}">
                <a16:creationId xmlns:a16="http://schemas.microsoft.com/office/drawing/2014/main" id="{C51A5327-EC34-D667-CCFF-38CE76E45AAD}"/>
              </a:ext>
            </a:extLst>
          </p:cNvPr>
          <p:cNvSpPr/>
          <p:nvPr/>
        </p:nvSpPr>
        <p:spPr>
          <a:xfrm>
            <a:off x="4257240" y="2951059"/>
            <a:ext cx="583870" cy="434684"/>
          </a:xfrm>
          <a:prstGeom prst="leftArrow">
            <a:avLst/>
          </a:prstGeom>
          <a:solidFill>
            <a:srgbClr val="B34534"/>
          </a:solidFill>
          <a:ln>
            <a:solidFill>
              <a:srgbClr val="B3453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61DF7FB3-AD05-AFDA-9A8B-C9E9285A1BE5}"/>
              </a:ext>
            </a:extLst>
          </p:cNvPr>
          <p:cNvGrpSpPr/>
          <p:nvPr/>
        </p:nvGrpSpPr>
        <p:grpSpPr>
          <a:xfrm>
            <a:off x="1787800" y="1953052"/>
            <a:ext cx="1150709" cy="457646"/>
            <a:chOff x="1020932" y="4474345"/>
            <a:chExt cx="3551068" cy="1189351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E6E24579-B4E3-F05A-4624-7F91080105DF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5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5D3ECF8C-11BD-507F-C41D-EAA2F818C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6876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F4CAA92-04C2-9FC1-D62A-A7B5F7163C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083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4CAA92-04C2-9FC1-D62A-A7B5F7163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8">
            <a:extLst>
              <a:ext uri="{FF2B5EF4-FFF2-40B4-BE49-F238E27FC236}">
                <a16:creationId xmlns:a16="http://schemas.microsoft.com/office/drawing/2014/main" id="{44C316A6-5DA1-BE0B-E47C-5E4E5817E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4" y="1355835"/>
            <a:ext cx="10552386" cy="505121"/>
          </a:xfrm>
        </p:spPr>
        <p:txBody>
          <a:bodyPr vert="horz">
            <a:normAutofit/>
          </a:bodyPr>
          <a:lstStyle/>
          <a:p>
            <a:r>
              <a:rPr lang="en-GB">
                <a:latin typeface="+mj-lt"/>
              </a:rPr>
              <a:t>BCN Digital Finance Hub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9B2D550-FB93-7A3F-C55D-02897B181B36}"/>
              </a:ext>
            </a:extLst>
          </p:cNvPr>
          <p:cNvSpPr/>
          <p:nvPr/>
        </p:nvSpPr>
        <p:spPr>
          <a:xfrm>
            <a:off x="314381" y="1813535"/>
            <a:ext cx="3969101" cy="296738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A957A42-20A7-7DBC-26DC-EED2C30FE8F9}"/>
              </a:ext>
            </a:extLst>
          </p:cNvPr>
          <p:cNvSpPr txBox="1"/>
          <p:nvPr/>
        </p:nvSpPr>
        <p:spPr>
          <a:xfrm>
            <a:off x="2131715" y="1967746"/>
            <a:ext cx="197705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>
                <a:solidFill>
                  <a:schemeClr val="accent1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en-GB" sz="1600">
                <a:solidFill>
                  <a:schemeClr val="accent1">
                    <a:lumMod val="50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rness the power of data science and technology to revolutionize financial processes globally</a:t>
            </a:r>
            <a:endParaRPr lang="en-GB" sz="160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2B039BF-702B-1DBF-15E0-E790B797866C}"/>
              </a:ext>
            </a:extLst>
          </p:cNvPr>
          <p:cNvCxnSpPr>
            <a:cxnSpLocks/>
          </p:cNvCxnSpPr>
          <p:nvPr/>
        </p:nvCxnSpPr>
        <p:spPr>
          <a:xfrm>
            <a:off x="2008778" y="1967746"/>
            <a:ext cx="0" cy="2641387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752A650B-02AE-145A-BDA2-C318EE4CC230}"/>
              </a:ext>
            </a:extLst>
          </p:cNvPr>
          <p:cNvSpPr/>
          <p:nvPr/>
        </p:nvSpPr>
        <p:spPr>
          <a:xfrm>
            <a:off x="720226" y="2965273"/>
            <a:ext cx="11560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i="1" err="1">
                <a:solidFill>
                  <a:srgbClr val="0C3A74"/>
                </a:solidFill>
                <a:latin typeface="+mj-lt"/>
                <a:cs typeface="Arial" charset="0"/>
              </a:rPr>
              <a:t>Our</a:t>
            </a:r>
            <a:r>
              <a:rPr lang="es-ES" b="1" i="1">
                <a:solidFill>
                  <a:srgbClr val="0C3A74"/>
                </a:solidFill>
                <a:latin typeface="+mj-lt"/>
                <a:cs typeface="Arial" charset="0"/>
              </a:rPr>
              <a:t> </a:t>
            </a:r>
          </a:p>
          <a:p>
            <a:pPr algn="r"/>
            <a:r>
              <a:rPr lang="es-ES" b="1" i="1" err="1">
                <a:solidFill>
                  <a:srgbClr val="0C3A74"/>
                </a:solidFill>
                <a:latin typeface="+mj-lt"/>
                <a:cs typeface="Arial" charset="0"/>
              </a:rPr>
              <a:t>mission</a:t>
            </a:r>
            <a:endParaRPr lang="es-ES" b="1" i="1">
              <a:solidFill>
                <a:srgbClr val="0C3A74"/>
              </a:solidFill>
              <a:latin typeface="+mj-lt"/>
              <a:cs typeface="Arial" charset="0"/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43ADAA2-455F-46CB-CCFC-85D4D5F83597}"/>
              </a:ext>
            </a:extLst>
          </p:cNvPr>
          <p:cNvGrpSpPr/>
          <p:nvPr/>
        </p:nvGrpSpPr>
        <p:grpSpPr>
          <a:xfrm>
            <a:off x="314381" y="5000782"/>
            <a:ext cx="3075896" cy="1574234"/>
            <a:chOff x="7745817" y="-1047721"/>
            <a:chExt cx="3075896" cy="1574234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625FACEA-191D-5E7E-E099-44BE1FEEFD8B}"/>
                </a:ext>
              </a:extLst>
            </p:cNvPr>
            <p:cNvSpPr/>
            <p:nvPr/>
          </p:nvSpPr>
          <p:spPr>
            <a:xfrm>
              <a:off x="7745817" y="-1047721"/>
              <a:ext cx="3075896" cy="157423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80FD1CC-F142-F4B7-03F3-73CD633D54F5}"/>
                </a:ext>
              </a:extLst>
            </p:cNvPr>
            <p:cNvSpPr/>
            <p:nvPr/>
          </p:nvSpPr>
          <p:spPr>
            <a:xfrm>
              <a:off x="7960597" y="-886081"/>
              <a:ext cx="26463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Our</a:t>
              </a:r>
              <a: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  <a:t> position at Novarti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0E6C251-5E4F-B783-B90C-B63FD19CB578}"/>
                </a:ext>
              </a:extLst>
            </p:cNvPr>
            <p:cNvSpPr txBox="1"/>
            <p:nvPr/>
          </p:nvSpPr>
          <p:spPr>
            <a:xfrm>
              <a:off x="8011274" y="-558516"/>
              <a:ext cx="259566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>
                  <a:latin typeface="Arial" charset="0"/>
                  <a:cs typeface="Arial" charset="0"/>
                </a:defRPr>
              </a:lvl1pPr>
            </a:lstStyle>
            <a:p>
              <a:pPr algn="ctr"/>
              <a:r>
                <a:rPr lang="es-ES" sz="16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novative Medicine</a:t>
              </a:r>
            </a:p>
            <a:p>
              <a:pPr algn="ctr"/>
              <a:r>
                <a:rPr lang="es-ES" sz="16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Global </a:t>
              </a:r>
              <a:r>
                <a:rPr lang="es-ES" sz="16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Drug</a:t>
              </a:r>
              <a:r>
                <a:rPr lang="es-ES" sz="16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 </a:t>
              </a:r>
              <a:r>
                <a:rPr lang="es-ES" sz="16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Development</a:t>
              </a:r>
              <a:endParaRPr lang="en-US" sz="160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  <a:p>
              <a:pPr algn="ctr"/>
              <a:r>
                <a:rPr lang="es-ES" sz="16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Technical</a:t>
              </a:r>
              <a:r>
                <a:rPr lang="es-ES" sz="16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 </a:t>
              </a:r>
              <a:r>
                <a:rPr lang="es-ES" sz="16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Operations</a:t>
              </a:r>
              <a:endParaRPr lang="en-US" sz="160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0855DDE3-8974-317A-DA91-CD7484BC552A}"/>
              </a:ext>
            </a:extLst>
          </p:cNvPr>
          <p:cNvGrpSpPr/>
          <p:nvPr/>
        </p:nvGrpSpPr>
        <p:grpSpPr>
          <a:xfrm>
            <a:off x="4624973" y="1883409"/>
            <a:ext cx="3159026" cy="1913004"/>
            <a:chOff x="4824938" y="4276020"/>
            <a:chExt cx="3159026" cy="1913004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88A06E41-AFF4-5CCC-CE5D-F6DB737FD509}"/>
                </a:ext>
              </a:extLst>
            </p:cNvPr>
            <p:cNvSpPr/>
            <p:nvPr/>
          </p:nvSpPr>
          <p:spPr>
            <a:xfrm>
              <a:off x="4824938" y="4276020"/>
              <a:ext cx="3159026" cy="191300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49CE8822-E6E8-77F0-78D5-A9561890E3F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91052" y="4601151"/>
              <a:ext cx="2651795" cy="1459645"/>
              <a:chOff x="4353428" y="4111313"/>
              <a:chExt cx="3412650" cy="1878446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8D8A9D2-6D23-7803-1AED-01BF18B70413}"/>
                  </a:ext>
                </a:extLst>
              </p:cNvPr>
              <p:cNvSpPr txBox="1"/>
              <p:nvPr/>
            </p:nvSpPr>
            <p:spPr>
              <a:xfrm>
                <a:off x="4353428" y="5651205"/>
                <a:ext cx="63991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600" b="1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2018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D98B939-C820-BDB0-876C-473C2D20CAD6}"/>
                  </a:ext>
                </a:extLst>
              </p:cNvPr>
              <p:cNvSpPr txBox="1"/>
              <p:nvPr/>
            </p:nvSpPr>
            <p:spPr>
              <a:xfrm>
                <a:off x="5264624" y="5651205"/>
                <a:ext cx="63991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600" b="1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2020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8FE45485-589A-A5CA-F1B9-614EC628262A}"/>
                  </a:ext>
                </a:extLst>
              </p:cNvPr>
              <p:cNvSpPr txBox="1"/>
              <p:nvPr/>
            </p:nvSpPr>
            <p:spPr>
              <a:xfrm>
                <a:off x="6192126" y="5651205"/>
                <a:ext cx="63991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600" b="1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2022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6B033CA-0911-808C-E8E1-A77B8EB7FC80}"/>
                  </a:ext>
                </a:extLst>
              </p:cNvPr>
              <p:cNvSpPr txBox="1"/>
              <p:nvPr/>
            </p:nvSpPr>
            <p:spPr>
              <a:xfrm>
                <a:off x="7126159" y="5651205"/>
                <a:ext cx="63991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600" b="1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2023</a:t>
                </a: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8939EFB-9499-8DCD-66C9-895A4BC437B5}"/>
                  </a:ext>
                </a:extLst>
              </p:cNvPr>
              <p:cNvSpPr/>
              <p:nvPr/>
            </p:nvSpPr>
            <p:spPr>
              <a:xfrm>
                <a:off x="4410551" y="5245649"/>
                <a:ext cx="546755" cy="301658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t"/>
              <a:lstStyle/>
              <a:p>
                <a:pPr algn="ctr"/>
                <a:r>
                  <a:rPr lang="en-GB" sz="160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10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28C8075D-FF1F-4D38-3B8A-C84380FFE9BA}"/>
                  </a:ext>
                </a:extLst>
              </p:cNvPr>
              <p:cNvSpPr/>
              <p:nvPr/>
            </p:nvSpPr>
            <p:spPr>
              <a:xfrm>
                <a:off x="5321747" y="4784677"/>
                <a:ext cx="546755" cy="76263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t"/>
              <a:lstStyle/>
              <a:p>
                <a:pPr algn="ctr"/>
                <a:r>
                  <a:rPr lang="en-GB" sz="160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28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D3A88F0-9B82-7BCF-A4AE-C028327359CF}"/>
                  </a:ext>
                </a:extLst>
              </p:cNvPr>
              <p:cNvSpPr/>
              <p:nvPr/>
            </p:nvSpPr>
            <p:spPr>
              <a:xfrm>
                <a:off x="6249394" y="4399719"/>
                <a:ext cx="546755" cy="114758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t"/>
              <a:lstStyle/>
              <a:p>
                <a:pPr algn="ctr"/>
                <a:r>
                  <a:rPr lang="en-GB" sz="160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40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F11AA0E-E4FC-1FDF-672F-08306CC6B4FC}"/>
                  </a:ext>
                </a:extLst>
              </p:cNvPr>
              <p:cNvSpPr/>
              <p:nvPr/>
            </p:nvSpPr>
            <p:spPr>
              <a:xfrm>
                <a:off x="7179154" y="4111313"/>
                <a:ext cx="546755" cy="143599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t"/>
              <a:lstStyle/>
              <a:p>
                <a:pPr algn="ctr"/>
                <a:r>
                  <a:rPr lang="en-GB" sz="160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50</a:t>
                </a:r>
              </a:p>
            </p:txBody>
          </p:sp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38C84A9-867A-0D12-74C6-6A439C634F78}"/>
                </a:ext>
              </a:extLst>
            </p:cNvPr>
            <p:cNvSpPr/>
            <p:nvPr/>
          </p:nvSpPr>
          <p:spPr>
            <a:xfrm>
              <a:off x="4916153" y="4315208"/>
              <a:ext cx="197372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Evolution</a:t>
              </a:r>
              <a:r>
                <a:rPr lang="es-ES" sz="20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of</a:t>
              </a:r>
              <a:r>
                <a:rPr lang="es-ES" sz="20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the</a:t>
              </a:r>
              <a:r>
                <a:rPr lang="es-ES" sz="20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hub</a:t>
              </a:r>
              <a:endParaRPr lang="es-ES" sz="2000" b="1" i="1">
                <a:solidFill>
                  <a:srgbClr val="0C3A74"/>
                </a:solidFill>
                <a:latin typeface="+mj-lt"/>
                <a:cs typeface="Arial" charset="0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BEF34B6-913E-B229-6826-AB2D0852E305}"/>
              </a:ext>
            </a:extLst>
          </p:cNvPr>
          <p:cNvGrpSpPr/>
          <p:nvPr/>
        </p:nvGrpSpPr>
        <p:grpSpPr>
          <a:xfrm>
            <a:off x="5694970" y="4117655"/>
            <a:ext cx="2089029" cy="2255038"/>
            <a:chOff x="5540848" y="4099006"/>
            <a:chExt cx="2089029" cy="2255038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ACB869D9-32EA-2997-EFA2-96C9A0A45373}"/>
                </a:ext>
              </a:extLst>
            </p:cNvPr>
            <p:cNvSpPr/>
            <p:nvPr/>
          </p:nvSpPr>
          <p:spPr>
            <a:xfrm>
              <a:off x="5540848" y="4099006"/>
              <a:ext cx="2089029" cy="2255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latin typeface="+mj-lt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134BFBCB-003F-0B03-B129-C20E7FEC36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901135" y="5370136"/>
              <a:ext cx="1389755" cy="547422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5801554-E957-F169-E5F4-23BD8B93FEB9}"/>
                </a:ext>
              </a:extLst>
            </p:cNvPr>
            <p:cNvSpPr/>
            <p:nvPr/>
          </p:nvSpPr>
          <p:spPr>
            <a:xfrm>
              <a:off x="5640285" y="5890203"/>
              <a:ext cx="198959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600" b="1">
                  <a:solidFill>
                    <a:srgbClr val="0460A9"/>
                  </a:solidFill>
                  <a:latin typeface="+mj-lt"/>
                  <a:ea typeface="Arial" charset="0"/>
                  <a:cs typeface="Arial" charset="0"/>
                </a:rPr>
                <a:t>60%</a:t>
              </a:r>
              <a:r>
                <a:rPr lang="es-ES" sz="1600" b="1"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s-ES" sz="1600" b="1">
                  <a:solidFill>
                    <a:srgbClr val="0460A9"/>
                  </a:solidFill>
                  <a:latin typeface="+mj-lt"/>
                  <a:cs typeface="Arial" charset="0"/>
                </a:rPr>
                <a:t>Local</a:t>
              </a:r>
              <a:r>
                <a:rPr lang="es-ES" sz="1600" b="1">
                  <a:solidFill>
                    <a:schemeClr val="accent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s-ES" sz="1600" b="1" err="1">
                  <a:solidFill>
                    <a:srgbClr val="0460A9"/>
                  </a:solidFill>
                  <a:latin typeface="+mj-lt"/>
                  <a:cs typeface="Arial" charset="0"/>
                </a:rPr>
                <a:t>talent</a:t>
              </a:r>
              <a:endParaRPr lang="es-ES" sz="1600" b="1">
                <a:solidFill>
                  <a:srgbClr val="0460A9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89565A82-6CF4-B8FE-FD7E-C2BCC975A209}"/>
                </a:ext>
              </a:extLst>
            </p:cNvPr>
            <p:cNvSpPr/>
            <p:nvPr/>
          </p:nvSpPr>
          <p:spPr>
            <a:xfrm>
              <a:off x="5614791" y="4169877"/>
              <a:ext cx="189687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  <a:t>Diverse </a:t>
              </a:r>
              <a:r>
                <a:rPr lang="es-ES" sz="16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team</a:t>
              </a:r>
              <a: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16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with</a:t>
              </a:r>
              <a:b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</a:br>
              <a: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  <a:t>+11 </a:t>
              </a:r>
              <a:r>
                <a:rPr lang="es-ES" sz="16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different</a:t>
              </a:r>
              <a:r>
                <a:rPr lang="es-ES" sz="16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16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nationalities</a:t>
              </a:r>
              <a:endParaRPr lang="es-ES" sz="1600" b="1" i="1">
                <a:solidFill>
                  <a:srgbClr val="0C3A74"/>
                </a:solidFill>
                <a:latin typeface="+mj-lt"/>
                <a:cs typeface="Arial" charset="0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D86DD768-05E1-D1C8-24FC-14C397D2AC05}"/>
              </a:ext>
            </a:extLst>
          </p:cNvPr>
          <p:cNvGrpSpPr/>
          <p:nvPr/>
        </p:nvGrpSpPr>
        <p:grpSpPr>
          <a:xfrm>
            <a:off x="8168219" y="4117655"/>
            <a:ext cx="3490946" cy="1913004"/>
            <a:chOff x="8564206" y="4169877"/>
            <a:chExt cx="3490946" cy="1913004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F364D46A-59D8-BB04-1037-5B5E74110AE5}"/>
                </a:ext>
              </a:extLst>
            </p:cNvPr>
            <p:cNvSpPr/>
            <p:nvPr/>
          </p:nvSpPr>
          <p:spPr>
            <a:xfrm>
              <a:off x="8564206" y="4169877"/>
              <a:ext cx="3490946" cy="191300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1507F23-4070-67AB-67D5-28F1127322AC}"/>
                </a:ext>
              </a:extLst>
            </p:cNvPr>
            <p:cNvSpPr/>
            <p:nvPr/>
          </p:nvSpPr>
          <p:spPr>
            <a:xfrm>
              <a:off x="8769816" y="4826749"/>
              <a:ext cx="3183474" cy="215150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Plain">
                <a:avLst/>
              </a:prstTxWarp>
            </a:bodyPr>
            <a:lstStyle/>
            <a:p>
              <a:pPr algn="ctr"/>
              <a:r>
                <a:rPr lang="es-ES" sz="900" err="1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Mathematics</a:t>
              </a:r>
              <a:r>
                <a:rPr lang="es-ES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 &amp; </a:t>
              </a:r>
              <a:r>
                <a:rPr lang="es-ES" sz="900" err="1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Statistics</a:t>
              </a:r>
              <a:endParaRPr lang="es-ES" sz="900">
                <a:solidFill>
                  <a:srgbClr val="0460A9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40000"/>
                    </a:schemeClr>
                  </a:glow>
                </a:effectLst>
                <a:latin typeface="+mj-lt"/>
                <a:cs typeface="Arial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2E71B8F-C903-E305-FA29-456F95BF7CE3}"/>
                </a:ext>
              </a:extLst>
            </p:cNvPr>
            <p:cNvSpPr/>
            <p:nvPr/>
          </p:nvSpPr>
          <p:spPr>
            <a:xfrm>
              <a:off x="9099123" y="5117512"/>
              <a:ext cx="2524860" cy="215150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Plain">
                <a:avLst/>
              </a:prstTxWarp>
            </a:bodyPr>
            <a:lstStyle/>
            <a:p>
              <a:pPr algn="ctr"/>
              <a:r>
                <a:rPr lang="es-ES" sz="900" err="1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Computer</a:t>
              </a:r>
              <a:r>
                <a:rPr lang="es-ES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 </a:t>
              </a:r>
              <a:r>
                <a:rPr lang="es-ES" sz="900" err="1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Science</a:t>
              </a:r>
              <a:endParaRPr lang="es-ES" sz="900">
                <a:solidFill>
                  <a:srgbClr val="0460A9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40000"/>
                    </a:schemeClr>
                  </a:glow>
                </a:effectLst>
                <a:latin typeface="+mj-lt"/>
                <a:cs typeface="Arial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5578EE8-9C53-2FFB-AF56-B36DFE1DF429}"/>
                </a:ext>
              </a:extLst>
            </p:cNvPr>
            <p:cNvSpPr/>
            <p:nvPr/>
          </p:nvSpPr>
          <p:spPr>
            <a:xfrm>
              <a:off x="9629926" y="5362667"/>
              <a:ext cx="1463255" cy="124745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Plain">
                <a:avLst/>
              </a:prstTxWarp>
            </a:bodyPr>
            <a:lstStyle/>
            <a:p>
              <a:pPr algn="ctr"/>
              <a:r>
                <a:rPr lang="es-ES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Economics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58C87A0-9452-24A7-22F7-02B43B6696BD}"/>
                </a:ext>
              </a:extLst>
            </p:cNvPr>
            <p:cNvSpPr/>
            <p:nvPr/>
          </p:nvSpPr>
          <p:spPr>
            <a:xfrm>
              <a:off x="9684223" y="5559928"/>
              <a:ext cx="1354661" cy="124745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Plain">
                <a:avLst/>
              </a:prstTxWarp>
            </a:bodyPr>
            <a:lstStyle/>
            <a:p>
              <a:pPr algn="ctr"/>
              <a:r>
                <a:rPr lang="es-ES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Physics </a:t>
              </a:r>
              <a:r>
                <a:rPr lang="en-GB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&amp; Others</a:t>
              </a:r>
              <a:endParaRPr lang="es-ES" sz="900">
                <a:solidFill>
                  <a:srgbClr val="0460A9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40000"/>
                    </a:schemeClr>
                  </a:glow>
                </a:effectLst>
                <a:latin typeface="+mj-lt"/>
                <a:cs typeface="Arial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5A2BF8D-334F-7CBE-580D-0F6042DBFF68}"/>
                </a:ext>
              </a:extLst>
            </p:cNvPr>
            <p:cNvSpPr/>
            <p:nvPr/>
          </p:nvSpPr>
          <p:spPr>
            <a:xfrm>
              <a:off x="9684223" y="5733552"/>
              <a:ext cx="1354660" cy="124745"/>
            </a:xfrm>
            <a:prstGeom prst="rect">
              <a:avLst/>
            </a:prstGeom>
            <a:solidFill>
              <a:srgbClr val="EBF0F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Plain">
                <a:avLst/>
              </a:prstTxWarp>
            </a:bodyPr>
            <a:lstStyle/>
            <a:p>
              <a:pPr algn="ctr"/>
              <a:r>
                <a:rPr lang="en-GB" sz="900">
                  <a:solidFill>
                    <a:srgbClr val="0460A9"/>
                  </a:solidFill>
                  <a:effectLst>
                    <a:glow rad="101600">
                      <a:schemeClr val="accent1">
                        <a:lumMod val="60000"/>
                        <a:lumOff val="40000"/>
                        <a:alpha val="40000"/>
                      </a:schemeClr>
                    </a:glow>
                  </a:effectLst>
                  <a:latin typeface="+mj-lt"/>
                  <a:cs typeface="Arial" charset="0"/>
                </a:rPr>
                <a:t>Engineering</a:t>
              </a:r>
              <a:endParaRPr lang="es-ES" sz="900">
                <a:solidFill>
                  <a:srgbClr val="0460A9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40000"/>
                    </a:schemeClr>
                  </a:glow>
                </a:effectLst>
                <a:latin typeface="+mj-lt"/>
                <a:cs typeface="Arial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40A61EA-7B2D-B5EF-5664-DD3987829170}"/>
                </a:ext>
              </a:extLst>
            </p:cNvPr>
            <p:cNvSpPr/>
            <p:nvPr/>
          </p:nvSpPr>
          <p:spPr>
            <a:xfrm>
              <a:off x="9409928" y="4276020"/>
              <a:ext cx="192027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Background</a:t>
              </a:r>
              <a:endParaRPr lang="es-ES" sz="2000" b="1" i="1">
                <a:solidFill>
                  <a:srgbClr val="0C3A74"/>
                </a:solidFill>
                <a:latin typeface="+mj-lt"/>
                <a:cs typeface="Arial" charset="0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056572F-95C7-E240-D882-38C907237969}"/>
              </a:ext>
            </a:extLst>
          </p:cNvPr>
          <p:cNvGrpSpPr>
            <a:grpSpLocks noChangeAspect="1"/>
          </p:cNvGrpSpPr>
          <p:nvPr/>
        </p:nvGrpSpPr>
        <p:grpSpPr>
          <a:xfrm>
            <a:off x="3527631" y="4907326"/>
            <a:ext cx="1870890" cy="1802028"/>
            <a:chOff x="5318357" y="-522250"/>
            <a:chExt cx="2678026" cy="2333903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4832897-DF3C-B948-3651-6655961F671E}"/>
                </a:ext>
              </a:extLst>
            </p:cNvPr>
            <p:cNvSpPr txBox="1"/>
            <p:nvPr/>
          </p:nvSpPr>
          <p:spPr>
            <a:xfrm>
              <a:off x="5995199" y="671696"/>
              <a:ext cx="1319690" cy="1139957"/>
            </a:xfrm>
            <a:prstGeom prst="rect">
              <a:avLst/>
            </a:prstGeom>
            <a:noFill/>
          </p:spPr>
          <p:txBody>
            <a:bodyPr wrap="square">
              <a:prstTxWarp prst="textArchUp">
                <a:avLst>
                  <a:gd name="adj" fmla="val 10578504"/>
                </a:avLst>
              </a:prstTxWarp>
              <a:spAutoFit/>
            </a:bodyPr>
            <a:lstStyle/>
            <a:p>
              <a:pPr algn="ctr"/>
              <a:r>
                <a:rPr lang="es-ES" sz="1100" b="1">
                  <a:solidFill>
                    <a:schemeClr val="bg1">
                      <a:lumMod val="85000"/>
                    </a:schemeClr>
                  </a:solidFill>
                </a:rPr>
                <a:t>Digital Finance</a:t>
              </a:r>
              <a:endParaRPr lang="en-GB" sz="11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977AA991-95E3-BF10-B6A2-448C1E6E5AB0}"/>
                </a:ext>
              </a:extLst>
            </p:cNvPr>
            <p:cNvGrpSpPr/>
            <p:nvPr/>
          </p:nvGrpSpPr>
          <p:grpSpPr>
            <a:xfrm>
              <a:off x="5318357" y="-522250"/>
              <a:ext cx="2678026" cy="2306806"/>
              <a:chOff x="5318357" y="-522250"/>
              <a:chExt cx="2678026" cy="2306806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6E6D44E1-14D7-97C1-BFE7-288BBD001C1E}"/>
                  </a:ext>
                </a:extLst>
              </p:cNvPr>
              <p:cNvSpPr/>
              <p:nvPr/>
            </p:nvSpPr>
            <p:spPr>
              <a:xfrm>
                <a:off x="5318357" y="-522250"/>
                <a:ext cx="2678026" cy="2306806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glow rad="63500">
                  <a:schemeClr val="accent5">
                    <a:satMod val="175000"/>
                    <a:alpha val="40000"/>
                  </a:schemeClr>
                </a:glow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B0CB0B87-130B-0A30-592A-0E512E48DBF3}"/>
                  </a:ext>
                </a:extLst>
              </p:cNvPr>
              <p:cNvSpPr/>
              <p:nvPr/>
            </p:nvSpPr>
            <p:spPr>
              <a:xfrm>
                <a:off x="5715487" y="-55912"/>
                <a:ext cx="1860521" cy="184046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glow rad="63500">
                  <a:schemeClr val="accent5">
                    <a:satMod val="175000"/>
                    <a:alpha val="40000"/>
                  </a:schemeClr>
                </a:glow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D57B319C-D65D-E05C-FAA1-189445908045}"/>
                  </a:ext>
                </a:extLst>
              </p:cNvPr>
              <p:cNvSpPr/>
              <p:nvPr/>
            </p:nvSpPr>
            <p:spPr>
              <a:xfrm>
                <a:off x="5902819" y="404927"/>
                <a:ext cx="1504451" cy="13796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glow rad="63500">
                  <a:schemeClr val="accent5">
                    <a:satMod val="175000"/>
                    <a:alpha val="40000"/>
                  </a:schemeClr>
                </a:glow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DAAC1497-3470-9177-9D7E-1B880B5675C9}"/>
                  </a:ext>
                </a:extLst>
              </p:cNvPr>
              <p:cNvSpPr/>
              <p:nvPr/>
            </p:nvSpPr>
            <p:spPr>
              <a:xfrm>
                <a:off x="6190206" y="877526"/>
                <a:ext cx="930036" cy="8994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>
                <a:noFill/>
              </a:ln>
              <a:effectLst>
                <a:glow rad="63500">
                  <a:schemeClr val="accent5">
                    <a:satMod val="175000"/>
                    <a:alpha val="40000"/>
                  </a:schemeClr>
                </a:glow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6988A26C-5C31-26E0-9605-CAD85AE69527}"/>
                  </a:ext>
                </a:extLst>
              </p:cNvPr>
              <p:cNvSpPr txBox="1"/>
              <p:nvPr/>
            </p:nvSpPr>
            <p:spPr>
              <a:xfrm>
                <a:off x="6300359" y="1006075"/>
                <a:ext cx="709369" cy="5580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ES" sz="1100" b="1">
                    <a:solidFill>
                      <a:schemeClr val="bg1">
                        <a:lumMod val="85000"/>
                      </a:schemeClr>
                    </a:solidFill>
                  </a:rPr>
                  <a:t>BCN</a:t>
                </a:r>
              </a:p>
              <a:p>
                <a:pPr algn="ctr"/>
                <a:r>
                  <a:rPr lang="es-ES" sz="1100" b="1">
                    <a:solidFill>
                      <a:schemeClr val="bg1">
                        <a:lumMod val="85000"/>
                      </a:schemeClr>
                    </a:solidFill>
                  </a:rPr>
                  <a:t>Hub</a:t>
                </a:r>
                <a:endParaRPr lang="en-GB" sz="1100" b="1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E7B1B23E-E2C8-E7AB-3A13-273A44D1D4BC}"/>
                  </a:ext>
                </a:extLst>
              </p:cNvPr>
              <p:cNvSpPr txBox="1"/>
              <p:nvPr/>
            </p:nvSpPr>
            <p:spPr>
              <a:xfrm>
                <a:off x="5807772" y="211515"/>
                <a:ext cx="1685333" cy="1139957"/>
              </a:xfrm>
              <a:prstGeom prst="rect">
                <a:avLst/>
              </a:prstGeom>
              <a:noFill/>
            </p:spPr>
            <p:txBody>
              <a:bodyPr wrap="square">
                <a:prstTxWarp prst="textArchUp">
                  <a:avLst>
                    <a:gd name="adj" fmla="val 10578504"/>
                  </a:avLst>
                </a:prstTxWarp>
                <a:spAutoFit/>
              </a:bodyPr>
              <a:lstStyle/>
              <a:p>
                <a:pPr algn="ctr"/>
                <a:r>
                  <a:rPr lang="es-ES" sz="1100" b="1">
                    <a:solidFill>
                      <a:schemeClr val="bg1">
                        <a:lumMod val="85000"/>
                      </a:schemeClr>
                    </a:solidFill>
                  </a:rPr>
                  <a:t>Group BPA</a:t>
                </a:r>
                <a:endParaRPr lang="en-GB" sz="1100" b="1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6944F677-112A-CED9-6E05-0A41882ECA26}"/>
                  </a:ext>
                </a:extLst>
              </p:cNvPr>
              <p:cNvSpPr txBox="1"/>
              <p:nvPr/>
            </p:nvSpPr>
            <p:spPr>
              <a:xfrm>
                <a:off x="5633183" y="-294000"/>
                <a:ext cx="2088545" cy="1139957"/>
              </a:xfrm>
              <a:prstGeom prst="rect">
                <a:avLst/>
              </a:prstGeom>
              <a:noFill/>
            </p:spPr>
            <p:txBody>
              <a:bodyPr wrap="square">
                <a:prstTxWarp prst="textArchUp">
                  <a:avLst>
                    <a:gd name="adj" fmla="val 10578504"/>
                  </a:avLst>
                </a:prstTxWarp>
                <a:spAutoFit/>
              </a:bodyPr>
              <a:lstStyle/>
              <a:p>
                <a:pPr algn="ctr"/>
                <a:r>
                  <a:rPr lang="es-ES" sz="1100" b="1" err="1">
                    <a:solidFill>
                      <a:schemeClr val="bg1">
                        <a:lumMod val="85000"/>
                      </a:schemeClr>
                    </a:solidFill>
                  </a:rPr>
                  <a:t>Finance</a:t>
                </a:r>
                <a:endParaRPr lang="en-GB" sz="1100" b="1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662FC835-5C75-1E38-F6D7-6D46B85906E4}"/>
              </a:ext>
            </a:extLst>
          </p:cNvPr>
          <p:cNvGrpSpPr/>
          <p:nvPr/>
        </p:nvGrpSpPr>
        <p:grpSpPr>
          <a:xfrm>
            <a:off x="8168219" y="1862152"/>
            <a:ext cx="3159026" cy="1913004"/>
            <a:chOff x="4803670" y="1805556"/>
            <a:chExt cx="3159026" cy="1913004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0C400D76-44E2-9AC9-BB18-754A43610846}"/>
                </a:ext>
              </a:extLst>
            </p:cNvPr>
            <p:cNvSpPr/>
            <p:nvPr/>
          </p:nvSpPr>
          <p:spPr>
            <a:xfrm>
              <a:off x="4803670" y="1805556"/>
              <a:ext cx="3159026" cy="191300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+mj-lt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1D0291C-B139-47C6-B9D5-37427F89BD6C}"/>
                </a:ext>
              </a:extLst>
            </p:cNvPr>
            <p:cNvSpPr txBox="1"/>
            <p:nvPr/>
          </p:nvSpPr>
          <p:spPr>
            <a:xfrm>
              <a:off x="4862687" y="2846707"/>
              <a:ext cx="1504164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The</a:t>
              </a:r>
              <a:r>
                <a:rPr lang="es-ES" sz="2000" b="1" i="1">
                  <a:solidFill>
                    <a:srgbClr val="0C3A74"/>
                  </a:solidFill>
                  <a:latin typeface="+mj-lt"/>
                  <a:cs typeface="Arial" charset="0"/>
                </a:rPr>
                <a:t> </a:t>
              </a:r>
              <a:r>
                <a:rPr lang="es-ES" sz="2000" b="1" i="1" err="1">
                  <a:solidFill>
                    <a:srgbClr val="0C3A74"/>
                  </a:solidFill>
                  <a:latin typeface="+mj-lt"/>
                  <a:cs typeface="Arial" charset="0"/>
                </a:rPr>
                <a:t>team</a:t>
              </a:r>
              <a:endParaRPr lang="en-US" sz="2000" b="1" i="1">
                <a:solidFill>
                  <a:srgbClr val="0C3A74"/>
                </a:solidFill>
                <a:latin typeface="+mj-lt"/>
                <a:cs typeface="Arial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8304AA2-032B-EAA2-31D6-428E13B212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867178" y="1854616"/>
              <a:ext cx="1908000" cy="1792972"/>
              <a:chOff x="5633053" y="1408441"/>
              <a:chExt cx="2298571" cy="2166504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5F7F17-D712-191C-27B9-AEBE4CB3383C}"/>
                  </a:ext>
                </a:extLst>
              </p:cNvPr>
              <p:cNvSpPr/>
              <p:nvPr/>
            </p:nvSpPr>
            <p:spPr>
              <a:xfrm>
                <a:off x="5633053" y="1408441"/>
                <a:ext cx="2298571" cy="2166504"/>
              </a:xfrm>
              <a:custGeom>
                <a:avLst/>
                <a:gdLst>
                  <a:gd name="connsiteX0" fmla="*/ 648000 w 2298571"/>
                  <a:gd name="connsiteY0" fmla="*/ 0 h 2166504"/>
                  <a:gd name="connsiteX1" fmla="*/ 1106206 w 2298571"/>
                  <a:gd name="connsiteY1" fmla="*/ 189795 h 2166504"/>
                  <a:gd name="connsiteX2" fmla="*/ 1149286 w 2298571"/>
                  <a:gd name="connsiteY2" fmla="*/ 242008 h 2166504"/>
                  <a:gd name="connsiteX3" fmla="*/ 1192366 w 2298571"/>
                  <a:gd name="connsiteY3" fmla="*/ 189795 h 2166504"/>
                  <a:gd name="connsiteX4" fmla="*/ 1650571 w 2298571"/>
                  <a:gd name="connsiteY4" fmla="*/ 0 h 2166504"/>
                  <a:gd name="connsiteX5" fmla="*/ 2298571 w 2298571"/>
                  <a:gd name="connsiteY5" fmla="*/ 648000 h 2166504"/>
                  <a:gd name="connsiteX6" fmla="*/ 1781166 w 2298571"/>
                  <a:gd name="connsiteY6" fmla="*/ 1282835 h 2166504"/>
                  <a:gd name="connsiteX7" fmla="*/ 1752283 w 2298571"/>
                  <a:gd name="connsiteY7" fmla="*/ 1285747 h 2166504"/>
                  <a:gd name="connsiteX8" fmla="*/ 1783996 w 2298571"/>
                  <a:gd name="connsiteY8" fmla="*/ 1387909 h 2166504"/>
                  <a:gd name="connsiteX9" fmla="*/ 1797161 w 2298571"/>
                  <a:gd name="connsiteY9" fmla="*/ 1518504 h 2166504"/>
                  <a:gd name="connsiteX10" fmla="*/ 1149161 w 2298571"/>
                  <a:gd name="connsiteY10" fmla="*/ 2166504 h 2166504"/>
                  <a:gd name="connsiteX11" fmla="*/ 501161 w 2298571"/>
                  <a:gd name="connsiteY11" fmla="*/ 1518504 h 2166504"/>
                  <a:gd name="connsiteX12" fmla="*/ 514326 w 2298571"/>
                  <a:gd name="connsiteY12" fmla="*/ 1387909 h 2166504"/>
                  <a:gd name="connsiteX13" fmla="*/ 546047 w 2298571"/>
                  <a:gd name="connsiteY13" fmla="*/ 1285722 h 2166504"/>
                  <a:gd name="connsiteX14" fmla="*/ 517405 w 2298571"/>
                  <a:gd name="connsiteY14" fmla="*/ 1282835 h 2166504"/>
                  <a:gd name="connsiteX15" fmla="*/ 0 w 2298571"/>
                  <a:gd name="connsiteY15" fmla="*/ 648000 h 2166504"/>
                  <a:gd name="connsiteX16" fmla="*/ 648000 w 2298571"/>
                  <a:gd name="connsiteY16" fmla="*/ 0 h 2166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98571" h="2166504">
                    <a:moveTo>
                      <a:pt x="648000" y="0"/>
                    </a:moveTo>
                    <a:cubicBezTo>
                      <a:pt x="826941" y="0"/>
                      <a:pt x="988941" y="72530"/>
                      <a:pt x="1106206" y="189795"/>
                    </a:cubicBezTo>
                    <a:lnTo>
                      <a:pt x="1149286" y="242008"/>
                    </a:lnTo>
                    <a:lnTo>
                      <a:pt x="1192366" y="189795"/>
                    </a:lnTo>
                    <a:cubicBezTo>
                      <a:pt x="1309631" y="72530"/>
                      <a:pt x="1471631" y="0"/>
                      <a:pt x="1650571" y="0"/>
                    </a:cubicBezTo>
                    <a:cubicBezTo>
                      <a:pt x="2008452" y="0"/>
                      <a:pt x="2298571" y="290119"/>
                      <a:pt x="2298571" y="648000"/>
                    </a:cubicBezTo>
                    <a:cubicBezTo>
                      <a:pt x="2298571" y="961146"/>
                      <a:pt x="2076449" y="1222412"/>
                      <a:pt x="1781166" y="1282835"/>
                    </a:cubicBezTo>
                    <a:lnTo>
                      <a:pt x="1752283" y="1285747"/>
                    </a:lnTo>
                    <a:lnTo>
                      <a:pt x="1783996" y="1387909"/>
                    </a:lnTo>
                    <a:cubicBezTo>
                      <a:pt x="1792628" y="1430093"/>
                      <a:pt x="1797161" y="1473769"/>
                      <a:pt x="1797161" y="1518504"/>
                    </a:cubicBezTo>
                    <a:cubicBezTo>
                      <a:pt x="1797161" y="1876385"/>
                      <a:pt x="1507042" y="2166504"/>
                      <a:pt x="1149161" y="2166504"/>
                    </a:cubicBezTo>
                    <a:cubicBezTo>
                      <a:pt x="791280" y="2166504"/>
                      <a:pt x="501161" y="1876385"/>
                      <a:pt x="501161" y="1518504"/>
                    </a:cubicBezTo>
                    <a:cubicBezTo>
                      <a:pt x="501161" y="1473769"/>
                      <a:pt x="505694" y="1430093"/>
                      <a:pt x="514326" y="1387909"/>
                    </a:cubicBezTo>
                    <a:lnTo>
                      <a:pt x="546047" y="1285722"/>
                    </a:lnTo>
                    <a:lnTo>
                      <a:pt x="517405" y="1282835"/>
                    </a:lnTo>
                    <a:cubicBezTo>
                      <a:pt x="222123" y="1222412"/>
                      <a:pt x="0" y="961146"/>
                      <a:pt x="0" y="648000"/>
                    </a:cubicBezTo>
                    <a:cubicBezTo>
                      <a:pt x="0" y="290119"/>
                      <a:pt x="290119" y="0"/>
                      <a:pt x="648000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matte">
                <a:bevelT w="127000" h="63500"/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D26E6C6-F710-A604-CD9E-6AB67DA40F66}"/>
                  </a:ext>
                </a:extLst>
              </p:cNvPr>
              <p:cNvSpPr/>
              <p:nvPr/>
            </p:nvSpPr>
            <p:spPr>
              <a:xfrm>
                <a:off x="6731632" y="1835952"/>
                <a:ext cx="101417" cy="456347"/>
              </a:xfrm>
              <a:custGeom>
                <a:avLst/>
                <a:gdLst>
                  <a:gd name="connsiteX0" fmla="*/ 50709 w 101417"/>
                  <a:gd name="connsiteY0" fmla="*/ 0 h 456347"/>
                  <a:gd name="connsiteX1" fmla="*/ 58084 w 101417"/>
                  <a:gd name="connsiteY1" fmla="*/ 13586 h 456347"/>
                  <a:gd name="connsiteX2" fmla="*/ 101417 w 101417"/>
                  <a:gd name="connsiteY2" fmla="*/ 228174 h 456347"/>
                  <a:gd name="connsiteX3" fmla="*/ 58084 w 101417"/>
                  <a:gd name="connsiteY3" fmla="*/ 442762 h 456347"/>
                  <a:gd name="connsiteX4" fmla="*/ 50709 w 101417"/>
                  <a:gd name="connsiteY4" fmla="*/ 456347 h 456347"/>
                  <a:gd name="connsiteX5" fmla="*/ 43333 w 101417"/>
                  <a:gd name="connsiteY5" fmla="*/ 442762 h 456347"/>
                  <a:gd name="connsiteX6" fmla="*/ 0 w 101417"/>
                  <a:gd name="connsiteY6" fmla="*/ 228174 h 456347"/>
                  <a:gd name="connsiteX7" fmla="*/ 43333 w 101417"/>
                  <a:gd name="connsiteY7" fmla="*/ 13586 h 456347"/>
                  <a:gd name="connsiteX8" fmla="*/ 50709 w 101417"/>
                  <a:gd name="connsiteY8" fmla="*/ 0 h 456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417" h="456347">
                    <a:moveTo>
                      <a:pt x="50709" y="0"/>
                    </a:moveTo>
                    <a:lnTo>
                      <a:pt x="58084" y="13586"/>
                    </a:lnTo>
                    <a:cubicBezTo>
                      <a:pt x="85987" y="79541"/>
                      <a:pt x="101417" y="152056"/>
                      <a:pt x="101417" y="228174"/>
                    </a:cubicBezTo>
                    <a:cubicBezTo>
                      <a:pt x="101417" y="304292"/>
                      <a:pt x="85987" y="376806"/>
                      <a:pt x="58084" y="442762"/>
                    </a:cubicBezTo>
                    <a:lnTo>
                      <a:pt x="50709" y="456347"/>
                    </a:lnTo>
                    <a:lnTo>
                      <a:pt x="43333" y="442762"/>
                    </a:lnTo>
                    <a:cubicBezTo>
                      <a:pt x="15430" y="376806"/>
                      <a:pt x="0" y="304292"/>
                      <a:pt x="0" y="228174"/>
                    </a:cubicBezTo>
                    <a:cubicBezTo>
                      <a:pt x="0" y="152056"/>
                      <a:pt x="15430" y="79541"/>
                      <a:pt x="43333" y="13586"/>
                    </a:cubicBezTo>
                    <a:lnTo>
                      <a:pt x="5070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8D624CDB-D6ED-E1F8-64E8-7164EE9EAE41}"/>
                  </a:ext>
                </a:extLst>
              </p:cNvPr>
              <p:cNvSpPr/>
              <p:nvPr/>
            </p:nvSpPr>
            <p:spPr>
              <a:xfrm>
                <a:off x="6725053" y="2292299"/>
                <a:ext cx="114575" cy="96811"/>
              </a:xfrm>
              <a:custGeom>
                <a:avLst/>
                <a:gdLst>
                  <a:gd name="connsiteX0" fmla="*/ 57288 w 114575"/>
                  <a:gd name="connsiteY0" fmla="*/ 0 h 96811"/>
                  <a:gd name="connsiteX1" fmla="*/ 100752 w 114575"/>
                  <a:gd name="connsiteY1" fmla="*/ 80061 h 96811"/>
                  <a:gd name="connsiteX2" fmla="*/ 114575 w 114575"/>
                  <a:gd name="connsiteY2" fmla="*/ 96810 h 96811"/>
                  <a:gd name="connsiteX3" fmla="*/ 57288 w 114575"/>
                  <a:gd name="connsiteY3" fmla="*/ 91037 h 96811"/>
                  <a:gd name="connsiteX4" fmla="*/ 0 w 114575"/>
                  <a:gd name="connsiteY4" fmla="*/ 96811 h 96811"/>
                  <a:gd name="connsiteX5" fmla="*/ 13823 w 114575"/>
                  <a:gd name="connsiteY5" fmla="*/ 80061 h 96811"/>
                  <a:gd name="connsiteX6" fmla="*/ 57288 w 114575"/>
                  <a:gd name="connsiteY6" fmla="*/ 0 h 96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575" h="96811">
                    <a:moveTo>
                      <a:pt x="57288" y="0"/>
                    </a:moveTo>
                    <a:lnTo>
                      <a:pt x="100752" y="80061"/>
                    </a:lnTo>
                    <a:lnTo>
                      <a:pt x="114575" y="96810"/>
                    </a:lnTo>
                    <a:lnTo>
                      <a:pt x="57288" y="91037"/>
                    </a:lnTo>
                    <a:lnTo>
                      <a:pt x="0" y="96811"/>
                    </a:lnTo>
                    <a:lnTo>
                      <a:pt x="13823" y="80061"/>
                    </a:lnTo>
                    <a:lnTo>
                      <a:pt x="57288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0CAE8296-31CB-11E3-0D8D-44602B654191}"/>
                  </a:ext>
                </a:extLst>
              </p:cNvPr>
              <p:cNvSpPr/>
              <p:nvPr/>
            </p:nvSpPr>
            <p:spPr>
              <a:xfrm>
                <a:off x="6839627" y="2389108"/>
                <a:ext cx="386134" cy="220538"/>
              </a:xfrm>
              <a:custGeom>
                <a:avLst/>
                <a:gdLst>
                  <a:gd name="connsiteX0" fmla="*/ 0 w 386134"/>
                  <a:gd name="connsiteY0" fmla="*/ 0 h 220538"/>
                  <a:gd name="connsiteX1" fmla="*/ 53843 w 386134"/>
                  <a:gd name="connsiteY1" fmla="*/ 5427 h 220538"/>
                  <a:gd name="connsiteX2" fmla="*/ 332624 w 386134"/>
                  <a:gd name="connsiteY2" fmla="*/ 155697 h 220538"/>
                  <a:gd name="connsiteX3" fmla="*/ 386134 w 386134"/>
                  <a:gd name="connsiteY3" fmla="*/ 220538 h 220538"/>
                  <a:gd name="connsiteX4" fmla="*/ 332291 w 386134"/>
                  <a:gd name="connsiteY4" fmla="*/ 215111 h 220538"/>
                  <a:gd name="connsiteX5" fmla="*/ 53510 w 386134"/>
                  <a:gd name="connsiteY5" fmla="*/ 64841 h 220538"/>
                  <a:gd name="connsiteX6" fmla="*/ 0 w 386134"/>
                  <a:gd name="connsiteY6" fmla="*/ 0 h 220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6134" h="220538">
                    <a:moveTo>
                      <a:pt x="0" y="0"/>
                    </a:moveTo>
                    <a:lnTo>
                      <a:pt x="53843" y="5427"/>
                    </a:lnTo>
                    <a:cubicBezTo>
                      <a:pt x="161531" y="27458"/>
                      <a:pt x="257784" y="80874"/>
                      <a:pt x="332624" y="155697"/>
                    </a:cubicBezTo>
                    <a:lnTo>
                      <a:pt x="386134" y="220538"/>
                    </a:lnTo>
                    <a:lnTo>
                      <a:pt x="332291" y="215111"/>
                    </a:lnTo>
                    <a:cubicBezTo>
                      <a:pt x="224604" y="193080"/>
                      <a:pt x="128351" y="139664"/>
                      <a:pt x="53510" y="64841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EDC9BA25-D5D9-3071-61D7-8D0D49D0E16A}"/>
                  </a:ext>
                </a:extLst>
              </p:cNvPr>
              <p:cNvSpPr/>
              <p:nvPr/>
            </p:nvSpPr>
            <p:spPr>
              <a:xfrm>
                <a:off x="6338920" y="2389109"/>
                <a:ext cx="386133" cy="220536"/>
              </a:xfrm>
              <a:custGeom>
                <a:avLst/>
                <a:gdLst>
                  <a:gd name="connsiteX0" fmla="*/ 386133 w 386133"/>
                  <a:gd name="connsiteY0" fmla="*/ 0 h 220536"/>
                  <a:gd name="connsiteX1" fmla="*/ 332623 w 386133"/>
                  <a:gd name="connsiteY1" fmla="*/ 64840 h 220536"/>
                  <a:gd name="connsiteX2" fmla="*/ 53842 w 386133"/>
                  <a:gd name="connsiteY2" fmla="*/ 215110 h 220536"/>
                  <a:gd name="connsiteX3" fmla="*/ 0 w 386133"/>
                  <a:gd name="connsiteY3" fmla="*/ 220536 h 220536"/>
                  <a:gd name="connsiteX4" fmla="*/ 53510 w 386133"/>
                  <a:gd name="connsiteY4" fmla="*/ 155696 h 220536"/>
                  <a:gd name="connsiteX5" fmla="*/ 332291 w 386133"/>
                  <a:gd name="connsiteY5" fmla="*/ 5426 h 220536"/>
                  <a:gd name="connsiteX6" fmla="*/ 386133 w 386133"/>
                  <a:gd name="connsiteY6" fmla="*/ 0 h 220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6133" h="220536">
                    <a:moveTo>
                      <a:pt x="386133" y="0"/>
                    </a:moveTo>
                    <a:lnTo>
                      <a:pt x="332623" y="64840"/>
                    </a:lnTo>
                    <a:cubicBezTo>
                      <a:pt x="257783" y="139663"/>
                      <a:pt x="161530" y="193079"/>
                      <a:pt x="53842" y="215110"/>
                    </a:cubicBezTo>
                    <a:lnTo>
                      <a:pt x="0" y="220536"/>
                    </a:lnTo>
                    <a:lnTo>
                      <a:pt x="53510" y="155696"/>
                    </a:lnTo>
                    <a:cubicBezTo>
                      <a:pt x="128351" y="80873"/>
                      <a:pt x="224604" y="27457"/>
                      <a:pt x="332291" y="5426"/>
                    </a:cubicBezTo>
                    <a:lnTo>
                      <a:pt x="38613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41B91A4E-03B6-957F-640F-FACA8CCD2FE2}"/>
                  </a:ext>
                </a:extLst>
              </p:cNvPr>
              <p:cNvSpPr/>
              <p:nvPr/>
            </p:nvSpPr>
            <p:spPr>
              <a:xfrm>
                <a:off x="5730214" y="1512831"/>
                <a:ext cx="1052126" cy="1102588"/>
              </a:xfrm>
              <a:custGeom>
                <a:avLst/>
                <a:gdLst>
                  <a:gd name="connsiteX0" fmla="*/ 551417 w 1052126"/>
                  <a:gd name="connsiteY0" fmla="*/ 0 h 1102588"/>
                  <a:gd name="connsiteX1" fmla="*/ 1008661 w 1052126"/>
                  <a:gd name="connsiteY1" fmla="*/ 243060 h 1102588"/>
                  <a:gd name="connsiteX2" fmla="*/ 1052126 w 1052126"/>
                  <a:gd name="connsiteY2" fmla="*/ 323120 h 1102588"/>
                  <a:gd name="connsiteX3" fmla="*/ 1044750 w 1052126"/>
                  <a:gd name="connsiteY3" fmla="*/ 336706 h 1102588"/>
                  <a:gd name="connsiteX4" fmla="*/ 1001417 w 1052126"/>
                  <a:gd name="connsiteY4" fmla="*/ 551294 h 1102588"/>
                  <a:gd name="connsiteX5" fmla="*/ 1044750 w 1052126"/>
                  <a:gd name="connsiteY5" fmla="*/ 765882 h 1102588"/>
                  <a:gd name="connsiteX6" fmla="*/ 1052126 w 1052126"/>
                  <a:gd name="connsiteY6" fmla="*/ 779467 h 1102588"/>
                  <a:gd name="connsiteX7" fmla="*/ 1008661 w 1052126"/>
                  <a:gd name="connsiteY7" fmla="*/ 859528 h 1102588"/>
                  <a:gd name="connsiteX8" fmla="*/ 994838 w 1052126"/>
                  <a:gd name="connsiteY8" fmla="*/ 876278 h 1102588"/>
                  <a:gd name="connsiteX9" fmla="*/ 940996 w 1052126"/>
                  <a:gd name="connsiteY9" fmla="*/ 881704 h 1102588"/>
                  <a:gd name="connsiteX10" fmla="*/ 662215 w 1052126"/>
                  <a:gd name="connsiteY10" fmla="*/ 1031974 h 1102588"/>
                  <a:gd name="connsiteX11" fmla="*/ 608705 w 1052126"/>
                  <a:gd name="connsiteY11" fmla="*/ 1096814 h 1102588"/>
                  <a:gd name="connsiteX12" fmla="*/ 551417 w 1052126"/>
                  <a:gd name="connsiteY12" fmla="*/ 1102588 h 1102588"/>
                  <a:gd name="connsiteX13" fmla="*/ 0 w 1052126"/>
                  <a:gd name="connsiteY13" fmla="*/ 551294 h 1102588"/>
                  <a:gd name="connsiteX14" fmla="*/ 551417 w 1052126"/>
                  <a:gd name="connsiteY14" fmla="*/ 0 h 1102588"/>
                  <a:gd name="connsiteX15" fmla="*/ 551417 w 1052126"/>
                  <a:gd name="connsiteY15" fmla="*/ 101293 h 1102588"/>
                  <a:gd name="connsiteX16" fmla="*/ 101417 w 1052126"/>
                  <a:gd name="connsiteY16" fmla="*/ 551293 h 1102588"/>
                  <a:gd name="connsiteX17" fmla="*/ 551417 w 1052126"/>
                  <a:gd name="connsiteY17" fmla="*/ 1001293 h 1102588"/>
                  <a:gd name="connsiteX18" fmla="*/ 1001417 w 1052126"/>
                  <a:gd name="connsiteY18" fmla="*/ 551293 h 1102588"/>
                  <a:gd name="connsiteX19" fmla="*/ 551417 w 1052126"/>
                  <a:gd name="connsiteY19" fmla="*/ 101293 h 1102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2126" h="1102588">
                    <a:moveTo>
                      <a:pt x="551417" y="0"/>
                    </a:moveTo>
                    <a:cubicBezTo>
                      <a:pt x="741754" y="0"/>
                      <a:pt x="909567" y="96415"/>
                      <a:pt x="1008661" y="243060"/>
                    </a:cubicBezTo>
                    <a:lnTo>
                      <a:pt x="1052126" y="323120"/>
                    </a:lnTo>
                    <a:lnTo>
                      <a:pt x="1044750" y="336706"/>
                    </a:lnTo>
                    <a:cubicBezTo>
                      <a:pt x="1016847" y="402661"/>
                      <a:pt x="1001417" y="475176"/>
                      <a:pt x="1001417" y="551294"/>
                    </a:cubicBezTo>
                    <a:cubicBezTo>
                      <a:pt x="1001417" y="627412"/>
                      <a:pt x="1016847" y="699926"/>
                      <a:pt x="1044750" y="765882"/>
                    </a:cubicBezTo>
                    <a:lnTo>
                      <a:pt x="1052126" y="779467"/>
                    </a:lnTo>
                    <a:lnTo>
                      <a:pt x="1008661" y="859528"/>
                    </a:lnTo>
                    <a:lnTo>
                      <a:pt x="994838" y="876278"/>
                    </a:lnTo>
                    <a:lnTo>
                      <a:pt x="940996" y="881704"/>
                    </a:lnTo>
                    <a:cubicBezTo>
                      <a:pt x="833309" y="903735"/>
                      <a:pt x="737056" y="957151"/>
                      <a:pt x="662215" y="1031974"/>
                    </a:cubicBezTo>
                    <a:lnTo>
                      <a:pt x="608705" y="1096814"/>
                    </a:lnTo>
                    <a:lnTo>
                      <a:pt x="551417" y="1102588"/>
                    </a:lnTo>
                    <a:cubicBezTo>
                      <a:pt x="246878" y="1102588"/>
                      <a:pt x="0" y="855765"/>
                      <a:pt x="0" y="551294"/>
                    </a:cubicBezTo>
                    <a:cubicBezTo>
                      <a:pt x="0" y="246823"/>
                      <a:pt x="246878" y="0"/>
                      <a:pt x="551417" y="0"/>
                    </a:cubicBezTo>
                    <a:close/>
                    <a:moveTo>
                      <a:pt x="551417" y="101293"/>
                    </a:moveTo>
                    <a:cubicBezTo>
                      <a:pt x="302889" y="101293"/>
                      <a:pt x="101417" y="302765"/>
                      <a:pt x="101417" y="551293"/>
                    </a:cubicBezTo>
                    <a:cubicBezTo>
                      <a:pt x="101417" y="799821"/>
                      <a:pt x="302889" y="1001293"/>
                      <a:pt x="551417" y="1001293"/>
                    </a:cubicBezTo>
                    <a:cubicBezTo>
                      <a:pt x="799945" y="1001293"/>
                      <a:pt x="1001417" y="799821"/>
                      <a:pt x="1001417" y="551293"/>
                    </a:cubicBezTo>
                    <a:cubicBezTo>
                      <a:pt x="1001417" y="302765"/>
                      <a:pt x="799945" y="101293"/>
                      <a:pt x="551417" y="10129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FFB628F3-BDB8-3E07-8AA3-4190C3395BBB}"/>
                  </a:ext>
                </a:extLst>
              </p:cNvPr>
              <p:cNvSpPr/>
              <p:nvPr/>
            </p:nvSpPr>
            <p:spPr>
              <a:xfrm>
                <a:off x="6782340" y="1512831"/>
                <a:ext cx="1052125" cy="1102588"/>
              </a:xfrm>
              <a:custGeom>
                <a:avLst/>
                <a:gdLst>
                  <a:gd name="connsiteX0" fmla="*/ 500708 w 1052125"/>
                  <a:gd name="connsiteY0" fmla="*/ 0 h 1102588"/>
                  <a:gd name="connsiteX1" fmla="*/ 1052125 w 1052125"/>
                  <a:gd name="connsiteY1" fmla="*/ 551294 h 1102588"/>
                  <a:gd name="connsiteX2" fmla="*/ 500708 w 1052125"/>
                  <a:gd name="connsiteY2" fmla="*/ 1102588 h 1102588"/>
                  <a:gd name="connsiteX3" fmla="*/ 443421 w 1052125"/>
                  <a:gd name="connsiteY3" fmla="*/ 1096815 h 1102588"/>
                  <a:gd name="connsiteX4" fmla="*/ 389911 w 1052125"/>
                  <a:gd name="connsiteY4" fmla="*/ 1031974 h 1102588"/>
                  <a:gd name="connsiteX5" fmla="*/ 111130 w 1052125"/>
                  <a:gd name="connsiteY5" fmla="*/ 881704 h 1102588"/>
                  <a:gd name="connsiteX6" fmla="*/ 57287 w 1052125"/>
                  <a:gd name="connsiteY6" fmla="*/ 876277 h 1102588"/>
                  <a:gd name="connsiteX7" fmla="*/ 43464 w 1052125"/>
                  <a:gd name="connsiteY7" fmla="*/ 859528 h 1102588"/>
                  <a:gd name="connsiteX8" fmla="*/ 0 w 1052125"/>
                  <a:gd name="connsiteY8" fmla="*/ 779467 h 1102588"/>
                  <a:gd name="connsiteX9" fmla="*/ 7375 w 1052125"/>
                  <a:gd name="connsiteY9" fmla="*/ 765882 h 1102588"/>
                  <a:gd name="connsiteX10" fmla="*/ 50708 w 1052125"/>
                  <a:gd name="connsiteY10" fmla="*/ 551294 h 1102588"/>
                  <a:gd name="connsiteX11" fmla="*/ 7375 w 1052125"/>
                  <a:gd name="connsiteY11" fmla="*/ 336706 h 1102588"/>
                  <a:gd name="connsiteX12" fmla="*/ 0 w 1052125"/>
                  <a:gd name="connsiteY12" fmla="*/ 323120 h 1102588"/>
                  <a:gd name="connsiteX13" fmla="*/ 43464 w 1052125"/>
                  <a:gd name="connsiteY13" fmla="*/ 243060 h 1102588"/>
                  <a:gd name="connsiteX14" fmla="*/ 500708 w 1052125"/>
                  <a:gd name="connsiteY14" fmla="*/ 0 h 1102588"/>
                  <a:gd name="connsiteX15" fmla="*/ 500708 w 1052125"/>
                  <a:gd name="connsiteY15" fmla="*/ 101293 h 1102588"/>
                  <a:gd name="connsiteX16" fmla="*/ 50708 w 1052125"/>
                  <a:gd name="connsiteY16" fmla="*/ 551293 h 1102588"/>
                  <a:gd name="connsiteX17" fmla="*/ 500708 w 1052125"/>
                  <a:gd name="connsiteY17" fmla="*/ 1001293 h 1102588"/>
                  <a:gd name="connsiteX18" fmla="*/ 950708 w 1052125"/>
                  <a:gd name="connsiteY18" fmla="*/ 551293 h 1102588"/>
                  <a:gd name="connsiteX19" fmla="*/ 500708 w 1052125"/>
                  <a:gd name="connsiteY19" fmla="*/ 101293 h 1102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2125" h="1102588">
                    <a:moveTo>
                      <a:pt x="500708" y="0"/>
                    </a:moveTo>
                    <a:cubicBezTo>
                      <a:pt x="805247" y="0"/>
                      <a:pt x="1052125" y="246823"/>
                      <a:pt x="1052125" y="551294"/>
                    </a:cubicBezTo>
                    <a:cubicBezTo>
                      <a:pt x="1052125" y="855765"/>
                      <a:pt x="805247" y="1102588"/>
                      <a:pt x="500708" y="1102588"/>
                    </a:cubicBezTo>
                    <a:lnTo>
                      <a:pt x="443421" y="1096815"/>
                    </a:lnTo>
                    <a:lnTo>
                      <a:pt x="389911" y="1031974"/>
                    </a:lnTo>
                    <a:cubicBezTo>
                      <a:pt x="315071" y="957151"/>
                      <a:pt x="218818" y="903735"/>
                      <a:pt x="111130" y="881704"/>
                    </a:cubicBezTo>
                    <a:lnTo>
                      <a:pt x="57287" y="876277"/>
                    </a:lnTo>
                    <a:lnTo>
                      <a:pt x="43464" y="859528"/>
                    </a:lnTo>
                    <a:lnTo>
                      <a:pt x="0" y="779467"/>
                    </a:lnTo>
                    <a:lnTo>
                      <a:pt x="7375" y="765882"/>
                    </a:lnTo>
                    <a:cubicBezTo>
                      <a:pt x="35278" y="699926"/>
                      <a:pt x="50708" y="627412"/>
                      <a:pt x="50708" y="551294"/>
                    </a:cubicBezTo>
                    <a:cubicBezTo>
                      <a:pt x="50708" y="475176"/>
                      <a:pt x="35278" y="402661"/>
                      <a:pt x="7375" y="336706"/>
                    </a:cubicBezTo>
                    <a:lnTo>
                      <a:pt x="0" y="323120"/>
                    </a:lnTo>
                    <a:lnTo>
                      <a:pt x="43464" y="243060"/>
                    </a:lnTo>
                    <a:cubicBezTo>
                      <a:pt x="142558" y="96415"/>
                      <a:pt x="310371" y="0"/>
                      <a:pt x="500708" y="0"/>
                    </a:cubicBezTo>
                    <a:close/>
                    <a:moveTo>
                      <a:pt x="500708" y="101293"/>
                    </a:moveTo>
                    <a:cubicBezTo>
                      <a:pt x="252180" y="101293"/>
                      <a:pt x="50708" y="302765"/>
                      <a:pt x="50708" y="551293"/>
                    </a:cubicBezTo>
                    <a:cubicBezTo>
                      <a:pt x="50708" y="799821"/>
                      <a:pt x="252180" y="1001293"/>
                      <a:pt x="500708" y="1001293"/>
                    </a:cubicBezTo>
                    <a:cubicBezTo>
                      <a:pt x="749236" y="1001293"/>
                      <a:pt x="950708" y="799821"/>
                      <a:pt x="950708" y="551293"/>
                    </a:cubicBezTo>
                    <a:cubicBezTo>
                      <a:pt x="950708" y="302765"/>
                      <a:pt x="749236" y="101293"/>
                      <a:pt x="500708" y="10129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3714D6A2-1BE1-229A-0D20-7E7253C26205}"/>
                  </a:ext>
                </a:extLst>
              </p:cNvPr>
              <p:cNvSpPr/>
              <p:nvPr/>
            </p:nvSpPr>
            <p:spPr>
              <a:xfrm>
                <a:off x="6230923" y="2383335"/>
                <a:ext cx="1102834" cy="1102588"/>
              </a:xfrm>
              <a:custGeom>
                <a:avLst/>
                <a:gdLst>
                  <a:gd name="connsiteX0" fmla="*/ 551417 w 1102834"/>
                  <a:gd name="connsiteY0" fmla="*/ 0 h 1102588"/>
                  <a:gd name="connsiteX1" fmla="*/ 608704 w 1102834"/>
                  <a:gd name="connsiteY1" fmla="*/ 5773 h 1102588"/>
                  <a:gd name="connsiteX2" fmla="*/ 662214 w 1102834"/>
                  <a:gd name="connsiteY2" fmla="*/ 70614 h 1102588"/>
                  <a:gd name="connsiteX3" fmla="*/ 940995 w 1102834"/>
                  <a:gd name="connsiteY3" fmla="*/ 220884 h 1102588"/>
                  <a:gd name="connsiteX4" fmla="*/ 994838 w 1102834"/>
                  <a:gd name="connsiteY4" fmla="*/ 226311 h 1102588"/>
                  <a:gd name="connsiteX5" fmla="*/ 1008661 w 1102834"/>
                  <a:gd name="connsiteY5" fmla="*/ 243060 h 1102588"/>
                  <a:gd name="connsiteX6" fmla="*/ 1102834 w 1102834"/>
                  <a:gd name="connsiteY6" fmla="*/ 551294 h 1102588"/>
                  <a:gd name="connsiteX7" fmla="*/ 551417 w 1102834"/>
                  <a:gd name="connsiteY7" fmla="*/ 1102588 h 1102588"/>
                  <a:gd name="connsiteX8" fmla="*/ 0 w 1102834"/>
                  <a:gd name="connsiteY8" fmla="*/ 551294 h 1102588"/>
                  <a:gd name="connsiteX9" fmla="*/ 94173 w 1102834"/>
                  <a:gd name="connsiteY9" fmla="*/ 243060 h 1102588"/>
                  <a:gd name="connsiteX10" fmla="*/ 107996 w 1102834"/>
                  <a:gd name="connsiteY10" fmla="*/ 226310 h 1102588"/>
                  <a:gd name="connsiteX11" fmla="*/ 161838 w 1102834"/>
                  <a:gd name="connsiteY11" fmla="*/ 220884 h 1102588"/>
                  <a:gd name="connsiteX12" fmla="*/ 440619 w 1102834"/>
                  <a:gd name="connsiteY12" fmla="*/ 70614 h 1102588"/>
                  <a:gd name="connsiteX13" fmla="*/ 494129 w 1102834"/>
                  <a:gd name="connsiteY13" fmla="*/ 5774 h 1102588"/>
                  <a:gd name="connsiteX14" fmla="*/ 551417 w 1102834"/>
                  <a:gd name="connsiteY14" fmla="*/ 0 h 1102588"/>
                  <a:gd name="connsiteX15" fmla="*/ 551417 w 1102834"/>
                  <a:gd name="connsiteY15" fmla="*/ 101293 h 1102588"/>
                  <a:gd name="connsiteX16" fmla="*/ 101417 w 1102834"/>
                  <a:gd name="connsiteY16" fmla="*/ 551293 h 1102588"/>
                  <a:gd name="connsiteX17" fmla="*/ 551417 w 1102834"/>
                  <a:gd name="connsiteY17" fmla="*/ 1001293 h 1102588"/>
                  <a:gd name="connsiteX18" fmla="*/ 1001417 w 1102834"/>
                  <a:gd name="connsiteY18" fmla="*/ 551293 h 1102588"/>
                  <a:gd name="connsiteX19" fmla="*/ 551417 w 1102834"/>
                  <a:gd name="connsiteY19" fmla="*/ 101293 h 1102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02834" h="1102588">
                    <a:moveTo>
                      <a:pt x="551417" y="0"/>
                    </a:moveTo>
                    <a:lnTo>
                      <a:pt x="608704" y="5773"/>
                    </a:lnTo>
                    <a:lnTo>
                      <a:pt x="662214" y="70614"/>
                    </a:lnTo>
                    <a:cubicBezTo>
                      <a:pt x="737055" y="145437"/>
                      <a:pt x="833308" y="198853"/>
                      <a:pt x="940995" y="220884"/>
                    </a:cubicBezTo>
                    <a:lnTo>
                      <a:pt x="994838" y="226311"/>
                    </a:lnTo>
                    <a:lnTo>
                      <a:pt x="1008661" y="243060"/>
                    </a:lnTo>
                    <a:cubicBezTo>
                      <a:pt x="1068117" y="331048"/>
                      <a:pt x="1102834" y="437118"/>
                      <a:pt x="1102834" y="551294"/>
                    </a:cubicBezTo>
                    <a:cubicBezTo>
                      <a:pt x="1102834" y="855765"/>
                      <a:pt x="855956" y="1102588"/>
                      <a:pt x="551417" y="1102588"/>
                    </a:cubicBezTo>
                    <a:cubicBezTo>
                      <a:pt x="246878" y="1102588"/>
                      <a:pt x="0" y="855765"/>
                      <a:pt x="0" y="551294"/>
                    </a:cubicBezTo>
                    <a:cubicBezTo>
                      <a:pt x="0" y="437118"/>
                      <a:pt x="34717" y="331048"/>
                      <a:pt x="94173" y="243060"/>
                    </a:cubicBezTo>
                    <a:lnTo>
                      <a:pt x="107996" y="226310"/>
                    </a:lnTo>
                    <a:lnTo>
                      <a:pt x="161838" y="220884"/>
                    </a:lnTo>
                    <a:cubicBezTo>
                      <a:pt x="269526" y="198853"/>
                      <a:pt x="365779" y="145437"/>
                      <a:pt x="440619" y="70614"/>
                    </a:cubicBezTo>
                    <a:lnTo>
                      <a:pt x="494129" y="5774"/>
                    </a:lnTo>
                    <a:lnTo>
                      <a:pt x="551417" y="0"/>
                    </a:lnTo>
                    <a:close/>
                    <a:moveTo>
                      <a:pt x="551417" y="101293"/>
                    </a:moveTo>
                    <a:cubicBezTo>
                      <a:pt x="302889" y="101293"/>
                      <a:pt x="101417" y="302765"/>
                      <a:pt x="101417" y="551293"/>
                    </a:cubicBezTo>
                    <a:cubicBezTo>
                      <a:pt x="101417" y="799821"/>
                      <a:pt x="302889" y="1001293"/>
                      <a:pt x="551417" y="1001293"/>
                    </a:cubicBezTo>
                    <a:cubicBezTo>
                      <a:pt x="799945" y="1001293"/>
                      <a:pt x="1001417" y="799821"/>
                      <a:pt x="1001417" y="551293"/>
                    </a:cubicBezTo>
                    <a:cubicBezTo>
                      <a:pt x="1001417" y="302765"/>
                      <a:pt x="799945" y="101293"/>
                      <a:pt x="551417" y="10129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460A9">
                      <a:shade val="30000"/>
                      <a:satMod val="115000"/>
                    </a:srgbClr>
                  </a:gs>
                  <a:gs pos="50000">
                    <a:srgbClr val="0460A9">
                      <a:shade val="67500"/>
                      <a:satMod val="115000"/>
                    </a:srgbClr>
                  </a:gs>
                  <a:gs pos="100000">
                    <a:srgbClr val="0460A9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>
                  <a:latin typeface="+mj-lt"/>
                </a:endParaRPr>
              </a:p>
            </p:txBody>
          </p: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A21386D3-3777-641C-B432-DFF6356F365C}"/>
                </a:ext>
              </a:extLst>
            </p:cNvPr>
            <p:cNvSpPr txBox="1"/>
            <p:nvPr/>
          </p:nvSpPr>
          <p:spPr>
            <a:xfrm>
              <a:off x="6008164" y="2154664"/>
              <a:ext cx="832752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1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charset="0"/>
                </a:rPr>
                <a:t>Data </a:t>
              </a:r>
            </a:p>
            <a:p>
              <a:pPr algn="ctr"/>
              <a:r>
                <a:rPr lang="es-ES" sz="1100" err="1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charset="0"/>
                </a:rPr>
                <a:t>Scientists</a:t>
              </a:r>
              <a:endParaRPr lang="en-US" sz="1100">
                <a:solidFill>
                  <a:schemeClr val="accent1">
                    <a:lumMod val="50000"/>
                  </a:schemeClr>
                </a:solidFill>
                <a:latin typeface="+mj-lt"/>
                <a:cs typeface="Arial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2269BDDA-3460-6406-3902-B8FD225A5ECC}"/>
                </a:ext>
              </a:extLst>
            </p:cNvPr>
            <p:cNvSpPr txBox="1"/>
            <p:nvPr/>
          </p:nvSpPr>
          <p:spPr>
            <a:xfrm>
              <a:off x="6820355" y="2154681"/>
              <a:ext cx="832752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1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charset="0"/>
                </a:rPr>
                <a:t>Finance</a:t>
              </a:r>
            </a:p>
            <a:p>
              <a:pPr algn="ctr"/>
              <a:r>
                <a:rPr lang="es-ES" sz="11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charset="0"/>
                </a:rPr>
                <a:t>Profiles</a:t>
              </a:r>
              <a:endParaRPr lang="en-US" sz="1100">
                <a:solidFill>
                  <a:schemeClr val="accent1">
                    <a:lumMod val="50000"/>
                  </a:schemeClr>
                </a:solidFill>
                <a:latin typeface="+mj-lt"/>
                <a:cs typeface="Arial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C9CEAACC-8377-2EB6-24DC-5C1F5C9993A0}"/>
                </a:ext>
              </a:extLst>
            </p:cNvPr>
            <p:cNvSpPr txBox="1"/>
            <p:nvPr/>
          </p:nvSpPr>
          <p:spPr>
            <a:xfrm>
              <a:off x="6600214" y="3225899"/>
              <a:ext cx="424960" cy="338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endParaRPr lang="es-ES" sz="1600" b="1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78D554C-BFAD-3D93-675F-375DE2B4A1CC}"/>
                </a:ext>
              </a:extLst>
            </p:cNvPr>
            <p:cNvSpPr txBox="1"/>
            <p:nvPr/>
          </p:nvSpPr>
          <p:spPr>
            <a:xfrm>
              <a:off x="6380505" y="2850066"/>
              <a:ext cx="915442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0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Software </a:t>
              </a:r>
              <a:r>
                <a:rPr lang="es-ES" sz="10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Engineers</a:t>
              </a:r>
              <a:r>
                <a:rPr lang="es-ES" sz="100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 &amp; </a:t>
              </a:r>
              <a:r>
                <a:rPr lang="es-ES" sz="1000" err="1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Devops</a:t>
              </a:r>
              <a:endParaRPr lang="en-US" sz="100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7F481C16-6F44-38FC-D271-11A1CDD479EF}"/>
              </a:ext>
            </a:extLst>
          </p:cNvPr>
          <p:cNvSpPr txBox="1"/>
          <p:nvPr/>
        </p:nvSpPr>
        <p:spPr>
          <a:xfrm>
            <a:off x="2131715" y="3531915"/>
            <a:ext cx="183862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err="1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Reimagine</a:t>
            </a:r>
            <a:r>
              <a:rPr lang="es-ES" sz="1600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 medicine </a:t>
            </a:r>
            <a:r>
              <a:rPr lang="es-ES" sz="1600" err="1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to</a:t>
            </a:r>
            <a:r>
              <a:rPr lang="es-ES" sz="1600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 </a:t>
            </a:r>
            <a:r>
              <a:rPr lang="es-ES" sz="1600" err="1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improve</a:t>
            </a:r>
            <a:r>
              <a:rPr lang="es-ES" sz="1600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 </a:t>
            </a:r>
            <a:r>
              <a:rPr lang="es-ES" sz="1600" err="1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people’s</a:t>
            </a:r>
            <a:r>
              <a:rPr lang="es-ES" sz="1600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 </a:t>
            </a:r>
            <a:r>
              <a:rPr lang="es-ES" sz="1600" err="1">
                <a:solidFill>
                  <a:schemeClr val="accent1">
                    <a:lumMod val="75000"/>
                  </a:schemeClr>
                </a:solidFill>
                <a:latin typeface="+mj-lt"/>
                <a:ea typeface="+mn-lt"/>
                <a:cs typeface="Calibri" panose="020F0502020204030204" pitchFamily="34" charset="0"/>
              </a:rPr>
              <a:t>lives</a:t>
            </a:r>
            <a:endParaRPr lang="en-US" sz="1600">
              <a:solidFill>
                <a:schemeClr val="accent1">
                  <a:lumMod val="75000"/>
                </a:schemeClr>
              </a:solidFill>
              <a:latin typeface="+mj-lt"/>
              <a:ea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2776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7EFF4A3C-D954-D641-23B2-91E536B86C5D}"/>
              </a:ext>
            </a:extLst>
          </p:cNvPr>
          <p:cNvGrpSpPr/>
          <p:nvPr/>
        </p:nvGrpSpPr>
        <p:grpSpPr>
          <a:xfrm>
            <a:off x="1524286" y="1954677"/>
            <a:ext cx="8404958" cy="4483875"/>
            <a:chOff x="1806272" y="2120890"/>
            <a:chExt cx="8404958" cy="4483875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7699E6D-EA5A-103E-1858-3F30D4751B1A}"/>
                </a:ext>
              </a:extLst>
            </p:cNvPr>
            <p:cNvGrpSpPr/>
            <p:nvPr/>
          </p:nvGrpSpPr>
          <p:grpSpPr>
            <a:xfrm>
              <a:off x="1806272" y="2120890"/>
              <a:ext cx="8404958" cy="4483875"/>
              <a:chOff x="1875545" y="1992241"/>
              <a:chExt cx="8404958" cy="4483875"/>
            </a:xfrm>
          </p:grpSpPr>
          <p:pic>
            <p:nvPicPr>
              <p:cNvPr id="29" name="Picture 28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DE8CB6D1-D5E4-906D-FEFB-4CF06F845C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r="42716"/>
              <a:stretch/>
            </p:blipFill>
            <p:spPr>
              <a:xfrm>
                <a:off x="1875545" y="1993138"/>
                <a:ext cx="6588587" cy="4480456"/>
              </a:xfrm>
              <a:prstGeom prst="rect">
                <a:avLst/>
              </a:prstGeom>
            </p:spPr>
          </p:pic>
          <p:pic>
            <p:nvPicPr>
              <p:cNvPr id="30" name="Picture 29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EFF7FE24-4F8A-0860-F970-75531E867BA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83784" r="380" b="-76"/>
              <a:stretch/>
            </p:blipFill>
            <p:spPr>
              <a:xfrm>
                <a:off x="8459072" y="1992241"/>
                <a:ext cx="1821431" cy="4483875"/>
              </a:xfrm>
              <a:prstGeom prst="rect">
                <a:avLst/>
              </a:prstGeom>
            </p:spPr>
          </p:pic>
        </p:grpSp>
        <p:sp>
          <p:nvSpPr>
            <p:cNvPr id="26" name="TextBox 1">
              <a:extLst>
                <a:ext uri="{FF2B5EF4-FFF2-40B4-BE49-F238E27FC236}">
                  <a16:creationId xmlns:a16="http://schemas.microsoft.com/office/drawing/2014/main" id="{E1B96FAC-79BD-9B7C-182B-0BE1B48C6451}"/>
                </a:ext>
              </a:extLst>
            </p:cNvPr>
            <p:cNvSpPr txBox="1"/>
            <p:nvPr/>
          </p:nvSpPr>
          <p:spPr>
            <a:xfrm>
              <a:off x="5334939" y="4191029"/>
              <a:ext cx="1327150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Metric</a:t>
              </a:r>
            </a:p>
          </p:txBody>
        </p:sp>
        <p:sp>
          <p:nvSpPr>
            <p:cNvPr id="27" name="TextBox 1">
              <a:extLst>
                <a:ext uri="{FF2B5EF4-FFF2-40B4-BE49-F238E27FC236}">
                  <a16:creationId xmlns:a16="http://schemas.microsoft.com/office/drawing/2014/main" id="{827845BC-AE82-7989-F6BF-B500145BC309}"/>
                </a:ext>
              </a:extLst>
            </p:cNvPr>
            <p:cNvSpPr txBox="1"/>
            <p:nvPr/>
          </p:nvSpPr>
          <p:spPr>
            <a:xfrm>
              <a:off x="8387274" y="4191029"/>
              <a:ext cx="895306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 panose="020B0604020104020204" pitchFamily="34" charset="0"/>
                  <a:cs typeface="Times New Roman" panose="02020603050405020304" pitchFamily="18" charset="0"/>
                </a:rPr>
                <a:t>Ranking</a:t>
              </a:r>
              <a:endPara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angal" panose="02040503050203030202" pitchFamily="18" charset="0"/>
                <a:cs typeface="Mangal" panose="02040503050203030202" pitchFamily="18" charset="0"/>
              </a:endParaRPr>
            </a:p>
          </p:txBody>
        </p:sp>
        <p:sp>
          <p:nvSpPr>
            <p:cNvPr id="28" name="TextBox 1">
              <a:extLst>
                <a:ext uri="{FF2B5EF4-FFF2-40B4-BE49-F238E27FC236}">
                  <a16:creationId xmlns:a16="http://schemas.microsoft.com/office/drawing/2014/main" id="{AF09AC46-03C5-C92A-AC56-3DEFB46C8D2F}"/>
                </a:ext>
              </a:extLst>
            </p:cNvPr>
            <p:cNvSpPr txBox="1"/>
            <p:nvPr/>
          </p:nvSpPr>
          <p:spPr>
            <a:xfrm>
              <a:off x="4127803" y="4192300"/>
              <a:ext cx="1000579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Team</a:t>
              </a:r>
            </a:p>
          </p:txBody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6AA1F51B-4C5F-5DF3-D72C-842322939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GB">
                <a:latin typeface="Trebuchet MS"/>
              </a:rPr>
              <a:t>How to submit results – Ranking checkpoints</a:t>
            </a:r>
          </a:p>
        </p:txBody>
      </p:sp>
      <p:sp>
        <p:nvSpPr>
          <p:cNvPr id="14" name="CustomShape 4">
            <a:extLst>
              <a:ext uri="{FF2B5EF4-FFF2-40B4-BE49-F238E27FC236}">
                <a16:creationId xmlns:a16="http://schemas.microsoft.com/office/drawing/2014/main" id="{B5F83EF3-96A4-B3D6-15CC-9555BFD5776D}"/>
              </a:ext>
            </a:extLst>
          </p:cNvPr>
          <p:cNvSpPr/>
          <p:nvPr/>
        </p:nvSpPr>
        <p:spPr>
          <a:xfrm>
            <a:off x="1435807" y="2495741"/>
            <a:ext cx="2142741" cy="831660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15" name="CustomShape 10">
            <a:extLst>
              <a:ext uri="{FF2B5EF4-FFF2-40B4-BE49-F238E27FC236}">
                <a16:creationId xmlns:a16="http://schemas.microsoft.com/office/drawing/2014/main" id="{F6F1281A-F91D-176C-1170-B9FEE133A3E2}"/>
              </a:ext>
            </a:extLst>
          </p:cNvPr>
          <p:cNvSpPr/>
          <p:nvPr/>
        </p:nvSpPr>
        <p:spPr>
          <a:xfrm>
            <a:off x="4011079" y="5972184"/>
            <a:ext cx="4176000" cy="381240"/>
          </a:xfrm>
          <a:prstGeom prst="rect">
            <a:avLst/>
          </a:prstGeom>
          <a:ln w="29160">
            <a:noFill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8280" tIns="53280" rIns="98280" bIns="5328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1800" b="1" strike="noStrike" spc="-1">
                <a:solidFill>
                  <a:srgbClr val="B34534"/>
                </a:solidFill>
                <a:latin typeface="Trebuchet MS"/>
              </a:rPr>
              <a:t>Your best submission is shown</a:t>
            </a:r>
            <a:endParaRPr lang="en-GB" sz="1800" b="1" strike="noStrike" spc="-1">
              <a:solidFill>
                <a:srgbClr val="B34534"/>
              </a:solidFill>
              <a:latin typeface="Trebuchet MS"/>
              <a:cs typeface="Arial"/>
            </a:endParaRPr>
          </a:p>
        </p:txBody>
      </p:sp>
      <p:sp>
        <p:nvSpPr>
          <p:cNvPr id="16" name="CustomShape 8">
            <a:extLst>
              <a:ext uri="{FF2B5EF4-FFF2-40B4-BE49-F238E27FC236}">
                <a16:creationId xmlns:a16="http://schemas.microsoft.com/office/drawing/2014/main" id="{FC882A6E-6E6B-9FC4-2870-E5AAF1E03F72}"/>
              </a:ext>
            </a:extLst>
          </p:cNvPr>
          <p:cNvSpPr/>
          <p:nvPr/>
        </p:nvSpPr>
        <p:spPr>
          <a:xfrm>
            <a:off x="7017855" y="2800408"/>
            <a:ext cx="4561636" cy="675976"/>
          </a:xfrm>
          <a:prstGeom prst="rect">
            <a:avLst/>
          </a:prstGeom>
          <a:noFill/>
          <a:ln w="29160">
            <a:noFill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8280" tIns="53280" rIns="98280" bIns="5328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1800" b="1" strike="noStrike" spc="-1">
                <a:solidFill>
                  <a:srgbClr val="B34534"/>
                </a:solidFill>
                <a:latin typeface="Trebuchet MS"/>
              </a:rPr>
              <a:t>Errors calculated only over </a:t>
            </a:r>
            <a:r>
              <a:rPr lang="en-GB" b="1" spc="-1">
                <a:solidFill>
                  <a:srgbClr val="B34534"/>
                </a:solidFill>
                <a:latin typeface="Trebuchet MS"/>
              </a:rPr>
              <a:t>a specific </a:t>
            </a:r>
            <a:r>
              <a:rPr lang="en-GB" sz="1800" b="1" strike="noStrike" spc="-1">
                <a:solidFill>
                  <a:srgbClr val="B34534"/>
                </a:solidFill>
                <a:latin typeface="Trebuchet MS"/>
              </a:rPr>
              <a:t>% of the test se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6DC68D0-AA72-8CE2-D3D2-0BE7AEA40586}"/>
              </a:ext>
            </a:extLst>
          </p:cNvPr>
          <p:cNvSpPr/>
          <p:nvPr/>
        </p:nvSpPr>
        <p:spPr>
          <a:xfrm>
            <a:off x="8052555" y="4253728"/>
            <a:ext cx="1524000" cy="376903"/>
          </a:xfrm>
          <a:prstGeom prst="rect">
            <a:avLst/>
          </a:prstGeom>
          <a:noFill/>
          <a:ln w="28575">
            <a:solidFill>
              <a:srgbClr val="BA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3C7E6F3D-E412-D40F-E399-6D43CD018329}"/>
              </a:ext>
            </a:extLst>
          </p:cNvPr>
          <p:cNvGrpSpPr/>
          <p:nvPr/>
        </p:nvGrpSpPr>
        <p:grpSpPr>
          <a:xfrm>
            <a:off x="1787800" y="1953052"/>
            <a:ext cx="1150709" cy="457646"/>
            <a:chOff x="1020932" y="4474345"/>
            <a:chExt cx="3551068" cy="1189351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8AF4DFBF-7324-2CA2-3744-1185A6DD2F67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5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8EC51380-0B65-72C2-6274-E2861CB9EA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28119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6601BD-0EFF-924B-BB8B-EFBFCBFA2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GB">
                <a:latin typeface="Trebuchet MS"/>
              </a:rPr>
              <a:t>How to submit results – History of submissions</a:t>
            </a:r>
          </a:p>
        </p:txBody>
      </p:sp>
      <p:pic>
        <p:nvPicPr>
          <p:cNvPr id="24" name="Imatge 8">
            <a:extLst>
              <a:ext uri="{FF2B5EF4-FFF2-40B4-BE49-F238E27FC236}">
                <a16:creationId xmlns:a16="http://schemas.microsoft.com/office/drawing/2014/main" id="{EB902E8D-F0DF-FA8D-33FF-6DD60B0FEC6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290" b="-224"/>
          <a:stretch/>
        </p:blipFill>
        <p:spPr>
          <a:xfrm>
            <a:off x="2806013" y="1973611"/>
            <a:ext cx="6402120" cy="4435856"/>
          </a:xfrm>
          <a:prstGeom prst="rect">
            <a:avLst/>
          </a:prstGeom>
        </p:spPr>
      </p:pic>
      <p:sp>
        <p:nvSpPr>
          <p:cNvPr id="25" name="CustomShape 4">
            <a:extLst>
              <a:ext uri="{FF2B5EF4-FFF2-40B4-BE49-F238E27FC236}">
                <a16:creationId xmlns:a16="http://schemas.microsoft.com/office/drawing/2014/main" id="{417B4ECA-1239-F672-3A5B-6A2856D42384}"/>
              </a:ext>
            </a:extLst>
          </p:cNvPr>
          <p:cNvSpPr/>
          <p:nvPr/>
        </p:nvSpPr>
        <p:spPr>
          <a:xfrm>
            <a:off x="2747738" y="2963375"/>
            <a:ext cx="1653588" cy="669503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27" name="TextBox 4">
            <a:extLst>
              <a:ext uri="{FF2B5EF4-FFF2-40B4-BE49-F238E27FC236}">
                <a16:creationId xmlns:a16="http://schemas.microsoft.com/office/drawing/2014/main" id="{F06B90F0-0067-90CB-723E-9F7CD7C63A32}"/>
              </a:ext>
            </a:extLst>
          </p:cNvPr>
          <p:cNvSpPr txBox="1"/>
          <p:nvPr/>
        </p:nvSpPr>
        <p:spPr>
          <a:xfrm>
            <a:off x="6813415" y="3298125"/>
            <a:ext cx="1327150" cy="246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Abadi"/>
                <a:cs typeface="Times New Roman"/>
              </a:rPr>
              <a:t>Metric</a:t>
            </a:r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288061B6-A517-6ECC-8579-D68A9AB8391B}"/>
              </a:ext>
            </a:extLst>
          </p:cNvPr>
          <p:cNvSpPr txBox="1"/>
          <p:nvPr/>
        </p:nvSpPr>
        <p:spPr>
          <a:xfrm>
            <a:off x="4639057" y="3298125"/>
            <a:ext cx="1327150" cy="180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Abadi" panose="020B0604020104020204" pitchFamily="34" charset="0"/>
                <a:cs typeface="Times New Roman" panose="02020603050405020304" pitchFamily="18" charset="0"/>
              </a:rPr>
              <a:t>Submission Date</a:t>
            </a:r>
            <a:endParaRPr lang="en-US" sz="1000">
              <a:solidFill>
                <a:schemeClr val="tx1">
                  <a:lumMod val="75000"/>
                  <a:lumOff val="25000"/>
                </a:schemeClr>
              </a:solidFill>
              <a:latin typeface="Mangal" panose="02040503050203030202" pitchFamily="18" charset="0"/>
              <a:cs typeface="Mangal" panose="02040503050203030202" pitchFamily="18" charset="0"/>
            </a:endParaRPr>
          </a:p>
        </p:txBody>
      </p:sp>
      <p:pic>
        <p:nvPicPr>
          <p:cNvPr id="31" name="Imatge 8" descr="A screenshot of a computer&#10;&#10;Description automatically generated">
            <a:extLst>
              <a:ext uri="{FF2B5EF4-FFF2-40B4-BE49-F238E27FC236}">
                <a16:creationId xmlns:a16="http://schemas.microsoft.com/office/drawing/2014/main" id="{C135B7E7-C172-7936-EE32-E54D16AFA28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64" r="22" b="92170"/>
          <a:stretch/>
        </p:blipFill>
        <p:spPr>
          <a:xfrm>
            <a:off x="8031155" y="1973610"/>
            <a:ext cx="888537" cy="346551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C9A6A573-328D-4422-ACFC-79BD157E00FD}"/>
              </a:ext>
            </a:extLst>
          </p:cNvPr>
          <p:cNvSpPr txBox="1"/>
          <p:nvPr/>
        </p:nvSpPr>
        <p:spPr>
          <a:xfrm>
            <a:off x="6194960" y="5967350"/>
            <a:ext cx="4374077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b="1">
                <a:solidFill>
                  <a:srgbClr val="B34534"/>
                </a:solidFill>
                <a:latin typeface="Trebuchet MS"/>
                <a:cs typeface="Arial"/>
              </a:rPr>
              <a:t>Limited number of submissions</a:t>
            </a:r>
            <a:endParaRPr lang="en-GB">
              <a:solidFill>
                <a:srgbClr val="B34534"/>
              </a:solidFill>
              <a:latin typeface="Trebuchet MS"/>
              <a:cs typeface="Arial"/>
            </a:endParaRPr>
          </a:p>
          <a:p>
            <a:pPr algn="l"/>
            <a:endParaRPr lang="en-GB">
              <a:cs typeface="Arial"/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A844C114-A0F0-E894-8D6C-592EC9FAFAF4}"/>
              </a:ext>
            </a:extLst>
          </p:cNvPr>
          <p:cNvGrpSpPr/>
          <p:nvPr/>
        </p:nvGrpSpPr>
        <p:grpSpPr>
          <a:xfrm>
            <a:off x="2983867" y="1973610"/>
            <a:ext cx="936625" cy="346551"/>
            <a:chOff x="1020932" y="4474345"/>
            <a:chExt cx="3551068" cy="1189351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2734D066-B9AB-8E90-B7E1-C5224334485E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5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1BFA3B56-0C81-FC98-5AE1-F9D9FED40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2388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2DFB00-0045-2F2A-7691-285E09C7B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GB">
                <a:latin typeface="Trebuchet MS"/>
              </a:rPr>
              <a:t>How to submit results – Final submission (last hour)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23734B1-C4DE-24BD-7ECB-7FBFF7A98B43}"/>
              </a:ext>
            </a:extLst>
          </p:cNvPr>
          <p:cNvGrpSpPr/>
          <p:nvPr/>
        </p:nvGrpSpPr>
        <p:grpSpPr>
          <a:xfrm>
            <a:off x="1800471" y="2052513"/>
            <a:ext cx="8594399" cy="4593421"/>
            <a:chOff x="434809" y="1904071"/>
            <a:chExt cx="8594399" cy="459342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073B11A-A5BD-DDD8-54D0-462FDEA0CC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3483" r="42058" b="-375"/>
            <a:stretch/>
          </p:blipFill>
          <p:spPr>
            <a:xfrm>
              <a:off x="434809" y="1904071"/>
              <a:ext cx="6457166" cy="4593421"/>
            </a:xfrm>
            <a:prstGeom prst="rect">
              <a:avLst/>
            </a:prstGeom>
          </p:spPr>
        </p:pic>
        <p:sp>
          <p:nvSpPr>
            <p:cNvPr id="6" name="TextBox 3">
              <a:extLst>
                <a:ext uri="{FF2B5EF4-FFF2-40B4-BE49-F238E27FC236}">
                  <a16:creationId xmlns:a16="http://schemas.microsoft.com/office/drawing/2014/main" id="{7C30D6CD-16C0-07C5-E99B-EA3BE3F77B24}"/>
                </a:ext>
              </a:extLst>
            </p:cNvPr>
            <p:cNvSpPr txBox="1"/>
            <p:nvPr/>
          </p:nvSpPr>
          <p:spPr>
            <a:xfrm>
              <a:off x="4321740" y="3303517"/>
              <a:ext cx="1327150" cy="2308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Metric</a:t>
              </a:r>
            </a:p>
          </p:txBody>
        </p:sp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5E280CAD-1C94-F31C-2F36-48ED6521ECDD}"/>
                </a:ext>
              </a:extLst>
            </p:cNvPr>
            <p:cNvSpPr txBox="1"/>
            <p:nvPr/>
          </p:nvSpPr>
          <p:spPr>
            <a:xfrm>
              <a:off x="2054497" y="3291913"/>
              <a:ext cx="1169515" cy="2308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Submission Date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131103DC-7BAA-A749-3231-A2CD34C239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0817" t="13458"/>
            <a:stretch/>
          </p:blipFill>
          <p:spPr>
            <a:xfrm>
              <a:off x="6891400" y="1906050"/>
              <a:ext cx="2137808" cy="4574950"/>
            </a:xfrm>
            <a:prstGeom prst="rect">
              <a:avLst/>
            </a:prstGeom>
          </p:spPr>
        </p:pic>
        <p:sp>
          <p:nvSpPr>
            <p:cNvPr id="9" name="TextBox 6">
              <a:extLst>
                <a:ext uri="{FF2B5EF4-FFF2-40B4-BE49-F238E27FC236}">
                  <a16:creationId xmlns:a16="http://schemas.microsoft.com/office/drawing/2014/main" id="{5EE116A0-DA72-13A4-4BB4-D5417EE902D4}"/>
                </a:ext>
              </a:extLst>
            </p:cNvPr>
            <p:cNvSpPr txBox="1"/>
            <p:nvPr/>
          </p:nvSpPr>
          <p:spPr>
            <a:xfrm>
              <a:off x="6888065" y="3299522"/>
              <a:ext cx="895306" cy="2308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00">
                  <a:solidFill>
                    <a:schemeClr val="tx1">
                      <a:lumMod val="75000"/>
                      <a:lumOff val="25000"/>
                    </a:schemeClr>
                  </a:solidFill>
                  <a:latin typeface="Abadi"/>
                  <a:cs typeface="Times New Roman"/>
                </a:rPr>
                <a:t>Select for final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34B3332-0D4D-4F47-FF59-9ADAECF4F0AA}"/>
                </a:ext>
              </a:extLst>
            </p:cNvPr>
            <p:cNvSpPr/>
            <p:nvPr/>
          </p:nvSpPr>
          <p:spPr>
            <a:xfrm>
              <a:off x="2721428" y="5195454"/>
              <a:ext cx="5848596" cy="12765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>
                  <a:solidFill>
                    <a:srgbClr val="B34534"/>
                  </a:solidFill>
                  <a:latin typeface="Trebuchet MS"/>
                  <a:cs typeface="Segoe UI"/>
                </a:rPr>
                <a:t>27</a:t>
              </a:r>
              <a:r>
                <a:rPr lang="en-GB" sz="1400" b="1" baseline="30000">
                  <a:solidFill>
                    <a:srgbClr val="B34534"/>
                  </a:solidFill>
                  <a:latin typeface="Trebuchet MS"/>
                  <a:cs typeface="Segoe UI"/>
                </a:rPr>
                <a:t>th</a:t>
              </a:r>
              <a:r>
                <a:rPr lang="en-GB" sz="2000" b="1">
                  <a:solidFill>
                    <a:srgbClr val="B34534"/>
                  </a:solidFill>
                  <a:latin typeface="Trebuchet MS"/>
                  <a:cs typeface="Segoe UI"/>
                </a:rPr>
                <a:t> Nov </a:t>
              </a:r>
              <a:r>
                <a:rPr lang="en-GB" sz="2000">
                  <a:solidFill>
                    <a:srgbClr val="B34534"/>
                  </a:solidFill>
                  <a:latin typeface="Trebuchet MS"/>
                  <a:cs typeface="Segoe UI"/>
                </a:rPr>
                <a:t>between </a:t>
              </a:r>
              <a:r>
                <a:rPr lang="en-GB" sz="2000" b="1">
                  <a:solidFill>
                    <a:srgbClr val="B34534"/>
                  </a:solidFill>
                  <a:latin typeface="Trebuchet MS"/>
                  <a:cs typeface="Segoe UI"/>
                </a:rPr>
                <a:t>9:30am</a:t>
              </a:r>
              <a:r>
                <a:rPr lang="en-GB" sz="2000">
                  <a:solidFill>
                    <a:srgbClr val="B34534"/>
                  </a:solidFill>
                  <a:latin typeface="Trebuchet MS"/>
                  <a:cs typeface="Segoe UI"/>
                </a:rPr>
                <a:t> and </a:t>
              </a:r>
              <a:r>
                <a:rPr lang="en-GB" sz="2000" b="1">
                  <a:solidFill>
                    <a:srgbClr val="B34534"/>
                  </a:solidFill>
                  <a:latin typeface="Trebuchet MS"/>
                  <a:cs typeface="Segoe UI"/>
                </a:rPr>
                <a:t>10:30am</a:t>
              </a:r>
              <a:r>
                <a:rPr lang="en-GB" sz="2000">
                  <a:solidFill>
                    <a:srgbClr val="B34534"/>
                  </a:solidFill>
                  <a:latin typeface="Trebuchet MS"/>
                  <a:cs typeface="Segoe UI"/>
                </a:rPr>
                <a:t> *:</a:t>
              </a:r>
              <a:endParaRPr lang="en-US" sz="2000">
                <a:solidFill>
                  <a:srgbClr val="B34534"/>
                </a:solidFill>
                <a:latin typeface="Trebuchet MS"/>
                <a:cs typeface="Segoe UI"/>
              </a:endParaRPr>
            </a:p>
            <a:p>
              <a:pPr algn="ctr"/>
              <a:r>
                <a:rPr lang="en-GB" sz="2000">
                  <a:solidFill>
                    <a:srgbClr val="B34534"/>
                  </a:solidFill>
                  <a:latin typeface="Trebuchet MS"/>
                  <a:cs typeface="Segoe UI"/>
                </a:rPr>
                <a:t>Select a </a:t>
              </a:r>
              <a:r>
                <a:rPr lang="en-GB" sz="2000" b="1">
                  <a:solidFill>
                    <a:srgbClr val="B34534"/>
                  </a:solidFill>
                  <a:latin typeface="Trebuchet MS"/>
                  <a:cs typeface="Segoe UI"/>
                </a:rPr>
                <a:t>maximum</a:t>
              </a:r>
              <a:r>
                <a:rPr lang="en-GB" sz="2000">
                  <a:solidFill>
                    <a:srgbClr val="B34534"/>
                  </a:solidFill>
                  <a:latin typeface="Trebuchet MS"/>
                  <a:cs typeface="Segoe UI"/>
                </a:rPr>
                <a:t> number of submissions</a:t>
              </a:r>
              <a:endParaRPr lang="en-GB" sz="2000">
                <a:solidFill>
                  <a:srgbClr val="B34534"/>
                </a:solidFill>
                <a:latin typeface="Trebuchet MS"/>
              </a:endParaRPr>
            </a:p>
          </p:txBody>
        </p:sp>
      </p:grpSp>
      <p:sp>
        <p:nvSpPr>
          <p:cNvPr id="32" name="CustomShape 4">
            <a:extLst>
              <a:ext uri="{FF2B5EF4-FFF2-40B4-BE49-F238E27FC236}">
                <a16:creationId xmlns:a16="http://schemas.microsoft.com/office/drawing/2014/main" id="{EFEFEE1E-56C5-834F-D5B2-4B9545493C92}"/>
              </a:ext>
            </a:extLst>
          </p:cNvPr>
          <p:cNvSpPr/>
          <p:nvPr/>
        </p:nvSpPr>
        <p:spPr>
          <a:xfrm>
            <a:off x="1822292" y="2938474"/>
            <a:ext cx="1340186" cy="509730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4" name="Arrow: Left 33">
            <a:extLst>
              <a:ext uri="{FF2B5EF4-FFF2-40B4-BE49-F238E27FC236}">
                <a16:creationId xmlns:a16="http://schemas.microsoft.com/office/drawing/2014/main" id="{05B29579-1972-C9E1-E4F5-BA54D616246A}"/>
              </a:ext>
            </a:extLst>
          </p:cNvPr>
          <p:cNvSpPr/>
          <p:nvPr/>
        </p:nvSpPr>
        <p:spPr>
          <a:xfrm rot="20580000">
            <a:off x="4355975" y="2748459"/>
            <a:ext cx="628693" cy="488472"/>
          </a:xfrm>
          <a:prstGeom prst="leftArrow">
            <a:avLst/>
          </a:prstGeom>
          <a:solidFill>
            <a:srgbClr val="B34534"/>
          </a:solidFill>
          <a:ln>
            <a:solidFill>
              <a:srgbClr val="B3453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9AFEED88-B239-11DB-D698-CD3D99361157}"/>
              </a:ext>
            </a:extLst>
          </p:cNvPr>
          <p:cNvGrpSpPr/>
          <p:nvPr/>
        </p:nvGrpSpPr>
        <p:grpSpPr>
          <a:xfrm>
            <a:off x="1926431" y="2074069"/>
            <a:ext cx="863616" cy="266337"/>
            <a:chOff x="1020932" y="4474345"/>
            <a:chExt cx="3551068" cy="1189351"/>
          </a:xfrm>
        </p:grpSpPr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37F8BEA7-F417-E2A1-050F-43C6D14B8887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7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D5D08CA1-C653-189D-617B-47428DA6E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703678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01D490-F64C-A6B7-C8B2-BBDCA32BD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How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to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submit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results</a:t>
            </a:r>
            <a:endParaRPr lang="es-ES">
              <a:latin typeface="Trebuchet MS"/>
            </a:endParaRPr>
          </a:p>
        </p:txBody>
      </p:sp>
      <p:sp>
        <p:nvSpPr>
          <p:cNvPr id="6" name="CustomShape 2">
            <a:extLst>
              <a:ext uri="{FF2B5EF4-FFF2-40B4-BE49-F238E27FC236}">
                <a16:creationId xmlns:a16="http://schemas.microsoft.com/office/drawing/2014/main" id="{52DFCC7B-5E05-CD1F-6424-B41B4386CE45}"/>
              </a:ext>
            </a:extLst>
          </p:cNvPr>
          <p:cNvSpPr/>
          <p:nvPr/>
        </p:nvSpPr>
        <p:spPr>
          <a:xfrm>
            <a:off x="2649390" y="2342312"/>
            <a:ext cx="6704034" cy="2173375"/>
          </a:xfrm>
          <a:prstGeom prst="rect">
            <a:avLst/>
          </a:prstGeom>
          <a:noFill/>
          <a:ln w="29160">
            <a:noFill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8280" tIns="53280" rIns="98280" bIns="5328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200" strike="noStrike" spc="-1">
                <a:solidFill>
                  <a:srgbClr val="023761"/>
                </a:solidFill>
                <a:latin typeface="Trebuchet MS"/>
                <a:cs typeface="Calibri Light"/>
              </a:rPr>
              <a:t>FINAL results calculated over the 100% of the test set</a:t>
            </a:r>
            <a:r>
              <a:rPr lang="en-GB" sz="3200" spc="-1">
                <a:solidFill>
                  <a:srgbClr val="023761"/>
                </a:solidFill>
                <a:latin typeface="Trebuchet MS"/>
                <a:cs typeface="Calibri Light"/>
              </a:rPr>
              <a:t> </a:t>
            </a:r>
            <a:endParaRPr lang="en-GB" sz="3200" strike="noStrike" spc="-1">
              <a:solidFill>
                <a:srgbClr val="023761"/>
              </a:solidFill>
              <a:latin typeface="Trebuchet MS"/>
              <a:cs typeface="Calibri Light" panose="020F0302020204030204" pitchFamily="34" charset="0"/>
            </a:endParaRPr>
          </a:p>
          <a:p>
            <a:pPr algn="ctr"/>
            <a:r>
              <a:rPr lang="en-GB" sz="3200" strike="noStrike" spc="-1">
                <a:solidFill>
                  <a:srgbClr val="B34534"/>
                </a:solidFill>
                <a:latin typeface="Trebuchet MS"/>
                <a:cs typeface="Calibri Light"/>
              </a:rPr>
              <a:t>once the submission </a:t>
            </a:r>
            <a:r>
              <a:rPr lang="en-GB" sz="3200" spc="-1">
                <a:solidFill>
                  <a:srgbClr val="B34534"/>
                </a:solidFill>
                <a:latin typeface="Trebuchet MS"/>
                <a:cs typeface="Calibri Light"/>
              </a:rPr>
              <a:t>deadline is </a:t>
            </a:r>
            <a:r>
              <a:rPr lang="en-GB" sz="3200" strike="noStrike" spc="-1">
                <a:solidFill>
                  <a:srgbClr val="B34534"/>
                </a:solidFill>
                <a:latin typeface="Trebuchet MS"/>
                <a:cs typeface="Calibri Light"/>
              </a:rPr>
              <a:t>over</a:t>
            </a:r>
            <a:r>
              <a:rPr lang="en-GB" sz="3200" spc="-1">
                <a:solidFill>
                  <a:srgbClr val="B34534"/>
                </a:solidFill>
                <a:latin typeface="Trebuchet MS"/>
                <a:cs typeface="Calibri Light"/>
              </a:rPr>
              <a:t> </a:t>
            </a:r>
            <a:endParaRPr lang="en-GB" sz="3200" strike="noStrike" spc="-1">
              <a:solidFill>
                <a:srgbClr val="B34534"/>
              </a:solidFill>
              <a:latin typeface="Trebuchet MS"/>
              <a:cs typeface="Calibri Light" panose="020F0302020204030204" pitchFamily="34" charset="0"/>
            </a:endParaRPr>
          </a:p>
          <a:p>
            <a:pPr algn="ctr"/>
            <a:r>
              <a:rPr lang="en-GB" sz="3200" strike="noStrike" spc="-1">
                <a:solidFill>
                  <a:srgbClr val="023761"/>
                </a:solidFill>
                <a:latin typeface="Trebuchet MS"/>
                <a:cs typeface="Calibri Light"/>
              </a:rPr>
              <a:t>(26</a:t>
            </a:r>
            <a:r>
              <a:rPr lang="en-GB" sz="3200" strike="noStrike" spc="-1" baseline="30000">
                <a:solidFill>
                  <a:srgbClr val="023761"/>
                </a:solidFill>
                <a:latin typeface="Trebuchet MS"/>
                <a:cs typeface="Calibri Light"/>
              </a:rPr>
              <a:t>th</a:t>
            </a:r>
            <a:r>
              <a:rPr lang="en-GB" sz="3200" strike="noStrike" spc="-1">
                <a:solidFill>
                  <a:srgbClr val="023761"/>
                </a:solidFill>
                <a:latin typeface="Trebuchet MS"/>
                <a:cs typeface="Calibri Light"/>
              </a:rPr>
              <a:t> Nov 10:30am)</a:t>
            </a:r>
            <a:endParaRPr lang="en-GB" strike="noStrike" spc="-1">
              <a:solidFill>
                <a:srgbClr val="023761"/>
              </a:solidFill>
              <a:latin typeface="Trebuchet MS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2688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2D78A9-E96F-B422-6695-2E93262CC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>
                <a:latin typeface="Trebuchet MS"/>
              </a:rPr>
              <a:t>Show </a:t>
            </a:r>
            <a:r>
              <a:rPr lang="es-ES" err="1">
                <a:latin typeface="Trebuchet MS"/>
              </a:rPr>
              <a:t>results</a:t>
            </a:r>
            <a:endParaRPr lang="es-ES" b="0">
              <a:latin typeface="Trebuchet M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3142CA5-83A4-6B48-E157-CAD46E0FA40B}"/>
              </a:ext>
            </a:extLst>
          </p:cNvPr>
          <p:cNvGrpSpPr/>
          <p:nvPr/>
        </p:nvGrpSpPr>
        <p:grpSpPr>
          <a:xfrm>
            <a:off x="1733086" y="2288928"/>
            <a:ext cx="8732396" cy="3680380"/>
            <a:chOff x="2151530" y="2288069"/>
            <a:chExt cx="8732396" cy="3680380"/>
          </a:xfrm>
        </p:grpSpPr>
        <p:pic>
          <p:nvPicPr>
            <p:cNvPr id="5" name="Picture 4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368FD1DB-E06B-87E8-1B73-C79E2D98B6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45342" b="-245"/>
            <a:stretch/>
          </p:blipFill>
          <p:spPr>
            <a:xfrm>
              <a:off x="2151530" y="2288069"/>
              <a:ext cx="6737403" cy="3671401"/>
            </a:xfrm>
            <a:prstGeom prst="rect">
              <a:avLst/>
            </a:prstGeom>
          </p:spPr>
        </p:pic>
        <p:pic>
          <p:nvPicPr>
            <p:cNvPr id="6" name="Picture 5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671255DA-C3CE-E01E-3568-49433480BA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3782" b="-490"/>
            <a:stretch/>
          </p:blipFill>
          <p:spPr>
            <a:xfrm>
              <a:off x="8884794" y="2288069"/>
              <a:ext cx="1999132" cy="3680380"/>
            </a:xfrm>
            <a:prstGeom prst="rect">
              <a:avLst/>
            </a:prstGeom>
          </p:spPr>
        </p:pic>
      </p:grpSp>
      <p:sp>
        <p:nvSpPr>
          <p:cNvPr id="9" name="CustomShape 4">
            <a:extLst>
              <a:ext uri="{FF2B5EF4-FFF2-40B4-BE49-F238E27FC236}">
                <a16:creationId xmlns:a16="http://schemas.microsoft.com/office/drawing/2014/main" id="{90AC69DB-786F-364A-7B0A-C67BF22945B7}"/>
              </a:ext>
            </a:extLst>
          </p:cNvPr>
          <p:cNvSpPr/>
          <p:nvPr/>
        </p:nvSpPr>
        <p:spPr>
          <a:xfrm>
            <a:off x="3552541" y="3875804"/>
            <a:ext cx="4320000" cy="411480"/>
          </a:xfrm>
          <a:prstGeom prst="rect">
            <a:avLst/>
          </a:prstGeom>
          <a:ln w="57150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8280" tIns="53280" rIns="98280" bIns="5328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2000" strike="noStrike" spc="-1">
                <a:solidFill>
                  <a:srgbClr val="000000"/>
                </a:solidFill>
                <a:latin typeface="Trebuchet MS"/>
              </a:rPr>
              <a:t>Top 5</a:t>
            </a:r>
            <a:endParaRPr lang="en-GB" sz="2000" strike="noStrike" spc="-1">
              <a:latin typeface="Trebuchet MS"/>
            </a:endParaRPr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E403ABAE-8030-2527-E0A2-E7CE0800DE2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2215" r="87766" b="-224"/>
          <a:stretch/>
        </p:blipFill>
        <p:spPr>
          <a:xfrm>
            <a:off x="1733086" y="3272153"/>
            <a:ext cx="1508034" cy="2490786"/>
          </a:xfrm>
          <a:prstGeom prst="rect">
            <a:avLst/>
          </a:prstGeom>
        </p:spPr>
      </p:pic>
      <p:sp>
        <p:nvSpPr>
          <p:cNvPr id="13" name="Line 6">
            <a:extLst>
              <a:ext uri="{FF2B5EF4-FFF2-40B4-BE49-F238E27FC236}">
                <a16:creationId xmlns:a16="http://schemas.microsoft.com/office/drawing/2014/main" id="{531D35C5-92C4-60AA-8B00-44246C9F331B}"/>
              </a:ext>
            </a:extLst>
          </p:cNvPr>
          <p:cNvSpPr/>
          <p:nvPr/>
        </p:nvSpPr>
        <p:spPr>
          <a:xfrm>
            <a:off x="2742139" y="3373911"/>
            <a:ext cx="694176" cy="517494"/>
          </a:xfrm>
          <a:prstGeom prst="line">
            <a:avLst/>
          </a:prstGeom>
          <a:ln w="38100">
            <a:solidFill>
              <a:srgbClr val="B34534"/>
            </a:solidFill>
            <a:round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en-GB"/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6BDAD9B1-488C-B7C0-AF30-E490685CAD9C}"/>
              </a:ext>
            </a:extLst>
          </p:cNvPr>
          <p:cNvSpPr txBox="1"/>
          <p:nvPr/>
        </p:nvSpPr>
        <p:spPr>
          <a:xfrm>
            <a:off x="4884434" y="3558475"/>
            <a:ext cx="1327150" cy="230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91440" tIns="45720" rIns="91440" bIns="45720" rtlCol="0" anchor="ctr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  <a:latin typeface="Abadi"/>
                <a:cs typeface="Times New Roman"/>
              </a:rPr>
              <a:t>Metric</a:t>
            </a: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BD951B84-6B1D-1C72-72C7-8228F0D2D507}"/>
              </a:ext>
            </a:extLst>
          </p:cNvPr>
          <p:cNvSpPr txBox="1"/>
          <p:nvPr/>
        </p:nvSpPr>
        <p:spPr>
          <a:xfrm>
            <a:off x="3507918" y="3558475"/>
            <a:ext cx="1327150" cy="230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91440" tIns="45720" rIns="91440" bIns="45720" rtlCol="0" anchor="ctr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  <a:latin typeface="Abadi"/>
                <a:cs typeface="Times New Roman"/>
              </a:rPr>
              <a:t>Team</a:t>
            </a: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E72D7C19-0728-B78E-9C08-B9974FC56E45}"/>
              </a:ext>
            </a:extLst>
          </p:cNvPr>
          <p:cNvSpPr txBox="1"/>
          <p:nvPr/>
        </p:nvSpPr>
        <p:spPr>
          <a:xfrm>
            <a:off x="8489595" y="3558474"/>
            <a:ext cx="1327150" cy="230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91440" tIns="45720" rIns="91440" bIns="45720" rtlCol="0" anchor="ctr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>
                    <a:lumMod val="75000"/>
                    <a:lumOff val="25000"/>
                  </a:schemeClr>
                </a:solidFill>
                <a:latin typeface="Abadi"/>
                <a:cs typeface="Times New Roman"/>
              </a:rPr>
              <a:t>Ranking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3B1D337B-D56A-D73C-9C8A-964AE58600FA}"/>
              </a:ext>
            </a:extLst>
          </p:cNvPr>
          <p:cNvGrpSpPr/>
          <p:nvPr/>
        </p:nvGrpSpPr>
        <p:grpSpPr>
          <a:xfrm>
            <a:off x="1865223" y="2288928"/>
            <a:ext cx="936625" cy="346551"/>
            <a:chOff x="1020932" y="4474345"/>
            <a:chExt cx="3551068" cy="1189351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2FD91C06-94EF-99F5-0FC1-F5C83D14C8E5}"/>
                </a:ext>
              </a:extLst>
            </p:cNvPr>
            <p:cNvSpPr/>
            <p:nvPr/>
          </p:nvSpPr>
          <p:spPr>
            <a:xfrm>
              <a:off x="1020932" y="4474345"/>
              <a:ext cx="3551068" cy="1189351"/>
            </a:xfrm>
            <a:prstGeom prst="rect">
              <a:avLst/>
            </a:prstGeom>
            <a:solidFill>
              <a:srgbClr val="35414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8" name="Picture 2" descr="A black background with blue and red text&#10;&#10;Description automatically generated">
              <a:extLst>
                <a:ext uri="{FF2B5EF4-FFF2-40B4-BE49-F238E27FC236}">
                  <a16:creationId xmlns:a16="http://schemas.microsoft.com/office/drawing/2014/main" id="{6ED962FF-BAC5-861C-41B9-68E2CCCA97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8587" y="4543854"/>
              <a:ext cx="3336524" cy="1005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74598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14134A-B0B2-0592-3A5A-E4FCC4AE0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 err="1">
                <a:latin typeface="Trebuchet MS"/>
              </a:rPr>
              <a:t>Submit</a:t>
            </a:r>
            <a:r>
              <a:rPr lang="es-ES">
                <a:latin typeface="Trebuchet MS"/>
              </a:rPr>
              <a:t> </a:t>
            </a:r>
            <a:r>
              <a:rPr lang="es-ES" err="1">
                <a:latin typeface="Trebuchet MS"/>
              </a:rPr>
              <a:t>presentation</a:t>
            </a:r>
            <a:r>
              <a:rPr lang="es-ES">
                <a:latin typeface="Trebuchet MS"/>
              </a:rPr>
              <a:t> &amp; </a:t>
            </a:r>
            <a:r>
              <a:rPr lang="es-ES" err="1">
                <a:latin typeface="Trebuchet MS"/>
              </a:rPr>
              <a:t>code</a:t>
            </a:r>
            <a:r>
              <a:rPr lang="es-ES">
                <a:latin typeface="Trebuchet MS"/>
              </a:rPr>
              <a:t> TOP 5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465F24F-66D2-2032-03DA-6688766C80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320" y="1860956"/>
            <a:ext cx="9143359" cy="449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stomShape 4">
            <a:extLst>
              <a:ext uri="{FF2B5EF4-FFF2-40B4-BE49-F238E27FC236}">
                <a16:creationId xmlns:a16="http://schemas.microsoft.com/office/drawing/2014/main" id="{3E3E3757-86BC-4AF1-BEDD-D34784F10716}"/>
              </a:ext>
            </a:extLst>
          </p:cNvPr>
          <p:cNvSpPr/>
          <p:nvPr/>
        </p:nvSpPr>
        <p:spPr>
          <a:xfrm>
            <a:off x="2009159" y="2206003"/>
            <a:ext cx="1391587" cy="968712"/>
          </a:xfrm>
          <a:prstGeom prst="rect">
            <a:avLst/>
          </a:prstGeom>
          <a:noFill/>
          <a:ln w="19050">
            <a:solidFill>
              <a:srgbClr val="B34534"/>
            </a:solidFill>
            <a:prstDash val="solid"/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3" name="CustomShape 4">
            <a:extLst>
              <a:ext uri="{FF2B5EF4-FFF2-40B4-BE49-F238E27FC236}">
                <a16:creationId xmlns:a16="http://schemas.microsoft.com/office/drawing/2014/main" id="{74BE2DD2-234B-BAAB-FAA8-C07C3E363BDF}"/>
              </a:ext>
            </a:extLst>
          </p:cNvPr>
          <p:cNvSpPr/>
          <p:nvPr/>
        </p:nvSpPr>
        <p:spPr>
          <a:xfrm>
            <a:off x="2009160" y="3509488"/>
            <a:ext cx="1987488" cy="240580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4" name="CustomShape 4">
            <a:extLst>
              <a:ext uri="{FF2B5EF4-FFF2-40B4-BE49-F238E27FC236}">
                <a16:creationId xmlns:a16="http://schemas.microsoft.com/office/drawing/2014/main" id="{E76924BF-3CEA-17E4-6EC1-12CAB81EECEB}"/>
              </a:ext>
            </a:extLst>
          </p:cNvPr>
          <p:cNvSpPr/>
          <p:nvPr/>
        </p:nvSpPr>
        <p:spPr>
          <a:xfrm>
            <a:off x="4951566" y="2302613"/>
            <a:ext cx="805966" cy="281239"/>
          </a:xfrm>
          <a:prstGeom prst="rect">
            <a:avLst/>
          </a:prstGeom>
          <a:noFill/>
          <a:ln w="28575"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endParaRPr lang="en-GB" sz="2800" b="0" strike="noStrike" spc="-1">
              <a:solidFill>
                <a:srgbClr val="0C3A74"/>
              </a:solidFill>
              <a:latin typeface="Arial"/>
            </a:endParaRPr>
          </a:p>
        </p:txBody>
      </p:sp>
      <p:sp>
        <p:nvSpPr>
          <p:cNvPr id="5" name="CustomShape 6">
            <a:extLst>
              <a:ext uri="{FF2B5EF4-FFF2-40B4-BE49-F238E27FC236}">
                <a16:creationId xmlns:a16="http://schemas.microsoft.com/office/drawing/2014/main" id="{2342AAA1-9930-377C-9689-E4F84487E1BA}"/>
              </a:ext>
            </a:extLst>
          </p:cNvPr>
          <p:cNvSpPr/>
          <p:nvPr/>
        </p:nvSpPr>
        <p:spPr>
          <a:xfrm>
            <a:off x="3486732" y="5063950"/>
            <a:ext cx="6369241" cy="398545"/>
          </a:xfrm>
          <a:prstGeom prst="rect">
            <a:avLst/>
          </a:prstGeom>
          <a:ln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0000" tIns="45000" rIns="90000" bIns="4500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1800" b="0" strike="noStrike" spc="-1" err="1">
                <a:solidFill>
                  <a:srgbClr val="B34534"/>
                </a:solidFill>
                <a:latin typeface="Trebuchet MS"/>
              </a:rPr>
              <a:t>Data_Novartis_Datathon-Final_Code_TeamX</a:t>
            </a:r>
            <a:endParaRPr lang="en-GB" sz="1800" b="0" strike="noStrike" spc="-1">
              <a:solidFill>
                <a:srgbClr val="B34534"/>
              </a:solidFill>
              <a:latin typeface="Trebuchet MS"/>
            </a:endParaRPr>
          </a:p>
        </p:txBody>
      </p:sp>
      <p:sp>
        <p:nvSpPr>
          <p:cNvPr id="10" name="CustomShape 6">
            <a:extLst>
              <a:ext uri="{FF2B5EF4-FFF2-40B4-BE49-F238E27FC236}">
                <a16:creationId xmlns:a16="http://schemas.microsoft.com/office/drawing/2014/main" id="{D68A903B-AB43-ED7F-5DC7-EB640DE8E3FC}"/>
              </a:ext>
            </a:extLst>
          </p:cNvPr>
          <p:cNvSpPr/>
          <p:nvPr/>
        </p:nvSpPr>
        <p:spPr>
          <a:xfrm>
            <a:off x="3486733" y="4434966"/>
            <a:ext cx="6369241" cy="398545"/>
          </a:xfrm>
          <a:prstGeom prst="rect">
            <a:avLst/>
          </a:prstGeom>
          <a:ln>
            <a:solidFill>
              <a:srgbClr val="B34534"/>
            </a:solidFill>
            <a:rou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 lIns="90000" tIns="45000" rIns="90000" bIns="45000" anchor="t"/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1800" b="0" strike="noStrike" spc="-1" err="1">
                <a:solidFill>
                  <a:srgbClr val="B34534"/>
                </a:solidFill>
                <a:latin typeface="Trebuchet MS"/>
              </a:rPr>
              <a:t>Data_Novartis_Datathon-Results_Presentation_TeamX</a:t>
            </a:r>
            <a:endParaRPr lang="en-GB" sz="1800" b="0" strike="noStrike" spc="-1">
              <a:solidFill>
                <a:srgbClr val="B34534"/>
              </a:solidFill>
              <a:latin typeface="Trebuchet MS"/>
            </a:endParaRPr>
          </a:p>
        </p:txBody>
      </p:sp>
      <p:sp>
        <p:nvSpPr>
          <p:cNvPr id="11" name="QuadreDeText 11">
            <a:extLst>
              <a:ext uri="{FF2B5EF4-FFF2-40B4-BE49-F238E27FC236}">
                <a16:creationId xmlns:a16="http://schemas.microsoft.com/office/drawing/2014/main" id="{4EAEB8DD-739C-A106-EB88-EE2343BD2BC4}"/>
              </a:ext>
            </a:extLst>
          </p:cNvPr>
          <p:cNvSpPr txBox="1"/>
          <p:nvPr/>
        </p:nvSpPr>
        <p:spPr>
          <a:xfrm>
            <a:off x="3002904" y="4372628"/>
            <a:ext cx="326065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sz="2800" b="1">
                <a:solidFill>
                  <a:srgbClr val="B34534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3" name="QuadreDeText 11">
            <a:extLst>
              <a:ext uri="{FF2B5EF4-FFF2-40B4-BE49-F238E27FC236}">
                <a16:creationId xmlns:a16="http://schemas.microsoft.com/office/drawing/2014/main" id="{9F0A6BEF-B7E1-96ED-F495-30B9968B61DE}"/>
              </a:ext>
            </a:extLst>
          </p:cNvPr>
          <p:cNvSpPr txBox="1"/>
          <p:nvPr/>
        </p:nvSpPr>
        <p:spPr>
          <a:xfrm>
            <a:off x="3002904" y="5001612"/>
            <a:ext cx="326065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a-ES" sz="2800" b="1">
                <a:solidFill>
                  <a:srgbClr val="B34534"/>
                </a:solidFill>
                <a:latin typeface="Arial"/>
                <a:cs typeface="Arial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067112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0" grpId="0" animBg="1"/>
      <p:bldP spid="11" grpId="0"/>
      <p:bldP spid="1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53183D-6164-9CB4-A723-3003A314C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s-ES">
                <a:latin typeface="Trebuchet MS"/>
              </a:rPr>
              <a:t>Agenda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BF64F1E-788A-A86A-535F-469E17B2921B}"/>
              </a:ext>
            </a:extLst>
          </p:cNvPr>
          <p:cNvGrpSpPr/>
          <p:nvPr/>
        </p:nvGrpSpPr>
        <p:grpSpPr>
          <a:xfrm>
            <a:off x="628005" y="1892195"/>
            <a:ext cx="11192515" cy="4758665"/>
            <a:chOff x="628005" y="1892195"/>
            <a:chExt cx="11192515" cy="4758665"/>
          </a:xfrm>
        </p:grpSpPr>
        <p:sp>
          <p:nvSpPr>
            <p:cNvPr id="5" name="Content Placeholder 2">
              <a:extLst>
                <a:ext uri="{FF2B5EF4-FFF2-40B4-BE49-F238E27FC236}">
                  <a16:creationId xmlns:a16="http://schemas.microsoft.com/office/drawing/2014/main" id="{F7CA123E-B8DD-1A78-9E76-D97D7D56F1F6}"/>
                </a:ext>
              </a:extLst>
            </p:cNvPr>
            <p:cNvSpPr txBox="1">
              <a:spLocks/>
            </p:cNvSpPr>
            <p:nvPr/>
          </p:nvSpPr>
          <p:spPr>
            <a:xfrm>
              <a:off x="1047998" y="1908002"/>
              <a:ext cx="5922691" cy="4632628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 fontScale="92500" lnSpcReduction="20000"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2000" b="1">
                  <a:solidFill>
                    <a:srgbClr val="002060"/>
                  </a:solidFill>
                  <a:latin typeface="Trebuchet MS"/>
                </a:rPr>
                <a:t>THU 23 November</a:t>
              </a:r>
              <a:endParaRPr lang="en-US"/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17:00h – 18:00h | Kick-off</a:t>
              </a:r>
              <a:endParaRPr lang="en-GB" sz="1800">
                <a:latin typeface="Trebuchet MS"/>
                <a:cs typeface="Calibri"/>
              </a:endParaRP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18:00h – ... | Q&amp;A on Teams Platform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endParaRPr lang="en-GB" sz="800">
                <a:latin typeface="Trebuchet MS"/>
              </a:endParaRP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2000" b="1">
                  <a:solidFill>
                    <a:srgbClr val="002060"/>
                  </a:solidFill>
                  <a:latin typeface="Trebuchet MS"/>
                </a:rPr>
                <a:t>FRI 24 November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09:00h – 18:00h | Attendance of questions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09:00h – 12:00h | Mentoring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16:00h – 18:00h | Mentoring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endParaRPr lang="en-GB" sz="900">
                <a:latin typeface="Trebuchet MS"/>
              </a:endParaRP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2000" b="1">
                  <a:solidFill>
                    <a:srgbClr val="002060"/>
                  </a:solidFill>
                  <a:latin typeface="Trebuchet MS"/>
                </a:rPr>
                <a:t>SAT 25 November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09:00h – 18:00h | Attendance of questions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</a:rPr>
                <a:t>09:00h – 12:00h | Mentoring</a:t>
              </a:r>
            </a:p>
            <a:p>
              <a:pPr marL="0" indent="0">
                <a:lnSpc>
                  <a:spcPct val="160000"/>
                </a:lnSpc>
                <a:buFont typeface="Arial" panose="020B0604020202020204" pitchFamily="34" charset="0"/>
                <a:buNone/>
              </a:pPr>
              <a:r>
                <a:rPr lang="en-GB" sz="1800">
                  <a:latin typeface="Trebuchet MS"/>
                  <a:ea typeface="+mn-lt"/>
                  <a:cs typeface="+mn-lt"/>
                </a:rPr>
                <a:t>16:00h – 18:00h | Mentoring</a:t>
              </a:r>
              <a:endParaRPr lang="en-GB">
                <a:latin typeface="Trebuchet MS"/>
              </a:endParaRPr>
            </a:p>
          </p:txBody>
        </p:sp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48DFF11C-949E-895D-70A9-7FB9A6E78AC5}"/>
                </a:ext>
              </a:extLst>
            </p:cNvPr>
            <p:cNvSpPr txBox="1">
              <a:spLocks/>
            </p:cNvSpPr>
            <p:nvPr/>
          </p:nvSpPr>
          <p:spPr>
            <a:xfrm>
              <a:off x="6890555" y="1892195"/>
              <a:ext cx="4929965" cy="3155897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 fontScale="92500" lnSpcReduction="20000"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GB" sz="2000" b="1">
                  <a:solidFill>
                    <a:srgbClr val="002060"/>
                  </a:solidFill>
                  <a:latin typeface="Trebuchet MS"/>
                </a:rPr>
                <a:t>SUN 26 November</a:t>
              </a:r>
              <a:endParaRPr lang="en-US"/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</a:rPr>
                <a:t>09:00h | Welcome and Jury introduction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  <a:cs typeface="Arial"/>
                </a:rPr>
                <a:t>09:30h </a:t>
              </a:r>
              <a:r>
                <a:rPr lang="en-GB" sz="1800">
                  <a:latin typeface="Trebuchet MS"/>
                  <a:cs typeface="Calibri"/>
                </a:rPr>
                <a:t>– 10:30h </a:t>
              </a:r>
              <a:r>
                <a:rPr lang="en-GB" sz="1800">
                  <a:latin typeface="Trebuchet MS"/>
                  <a:cs typeface="Arial"/>
                </a:rPr>
                <a:t>| Final submissions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  <a:cs typeface="Arial"/>
                </a:rPr>
                <a:t>10:30h | Deadline Submit final csv</a:t>
              </a:r>
              <a:endParaRPr lang="en-GB">
                <a:latin typeface="Trebuchet MS"/>
              </a:endParaRP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  <a:cs typeface="Arial"/>
                </a:rPr>
                <a:t>11:30h | Show Results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  <a:cs typeface="Arial"/>
                </a:rPr>
                <a:t>12:00h | Deadline to upload TOP5 presentation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  <a:cs typeface="Arial"/>
                </a:rPr>
                <a:t>13:00h – 14:30h | Finalists' presentations TOP 5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</a:rPr>
                <a:t>14:30h – 15:00h | Jury deliberates</a:t>
              </a:r>
            </a:p>
            <a:p>
              <a:pPr>
                <a:lnSpc>
                  <a:spcPct val="150000"/>
                </a:lnSpc>
              </a:pPr>
              <a:r>
                <a:rPr lang="en-GB" sz="1800">
                  <a:latin typeface="Trebuchet MS"/>
                </a:rPr>
                <a:t>15:00h | Announcement of the Winners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D673F8E-ED05-1B20-7E6C-B165374807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88140" b="85564"/>
            <a:stretch/>
          </p:blipFill>
          <p:spPr>
            <a:xfrm>
              <a:off x="628005" y="1959727"/>
              <a:ext cx="467032" cy="382991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0B24BCB-FF30-5C3D-A493-AF4EEA4784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88140" b="85564"/>
            <a:stretch/>
          </p:blipFill>
          <p:spPr>
            <a:xfrm>
              <a:off x="631251" y="3222435"/>
              <a:ext cx="467032" cy="382991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72AE6D3-218B-3372-69A7-EE9B62F4FD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88140" b="85564"/>
            <a:stretch/>
          </p:blipFill>
          <p:spPr>
            <a:xfrm>
              <a:off x="631251" y="4882046"/>
              <a:ext cx="467032" cy="38299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3F3351-E097-9749-C114-E1B8737C65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88140" b="85564"/>
            <a:stretch/>
          </p:blipFill>
          <p:spPr>
            <a:xfrm>
              <a:off x="6492151" y="1924693"/>
              <a:ext cx="467032" cy="382991"/>
            </a:xfrm>
            <a:prstGeom prst="rect">
              <a:avLst/>
            </a:prstGeom>
          </p:spPr>
        </p:pic>
        <p:sp>
          <p:nvSpPr>
            <p:cNvPr id="11" name="TextBox 22">
              <a:extLst>
                <a:ext uri="{FF2B5EF4-FFF2-40B4-BE49-F238E27FC236}">
                  <a16:creationId xmlns:a16="http://schemas.microsoft.com/office/drawing/2014/main" id="{4E2CBA51-89D6-A2EE-CB64-2ED59C0A3A2C}"/>
                </a:ext>
              </a:extLst>
            </p:cNvPr>
            <p:cNvSpPr txBox="1"/>
            <p:nvPr/>
          </p:nvSpPr>
          <p:spPr>
            <a:xfrm>
              <a:off x="4566545" y="6355971"/>
              <a:ext cx="3051291" cy="29488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ES" sz="1000">
                  <a:solidFill>
                    <a:srgbClr val="B34534"/>
                  </a:solidFill>
                  <a:latin typeface="Trebuchet MS"/>
                </a:rPr>
                <a:t>*Central </a:t>
              </a:r>
              <a:r>
                <a:rPr lang="es-ES" sz="1000" err="1">
                  <a:solidFill>
                    <a:srgbClr val="B34534"/>
                  </a:solidFill>
                  <a:latin typeface="Trebuchet MS"/>
                </a:rPr>
                <a:t>European</a:t>
              </a:r>
              <a:r>
                <a:rPr lang="es-ES" sz="1000">
                  <a:solidFill>
                    <a:srgbClr val="B34534"/>
                  </a:solidFill>
                  <a:latin typeface="Trebuchet MS"/>
                </a:rPr>
                <a:t> Time - Barcelona, UTC +1h</a:t>
              </a:r>
              <a:endParaRPr lang="ca-ES" sz="1000">
                <a:solidFill>
                  <a:srgbClr val="B34534"/>
                </a:solidFill>
                <a:latin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3703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84067962-EC42-0FB8-BC0D-C09941688E7E}"/>
              </a:ext>
            </a:extLst>
          </p:cNvPr>
          <p:cNvSpPr txBox="1">
            <a:spLocks/>
          </p:cNvSpPr>
          <p:nvPr/>
        </p:nvSpPr>
        <p:spPr>
          <a:xfrm>
            <a:off x="111264" y="1048935"/>
            <a:ext cx="7651019" cy="747132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B34534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sz="3000"/>
              <a:t>The Daily Sales Probl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2E85B1-AE87-A2F7-EC63-D505CB43357D}"/>
              </a:ext>
            </a:extLst>
          </p:cNvPr>
          <p:cNvSpPr txBox="1"/>
          <p:nvPr/>
        </p:nvSpPr>
        <p:spPr>
          <a:xfrm>
            <a:off x="111051" y="1823586"/>
            <a:ext cx="6000638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The current </a:t>
            </a:r>
            <a:r>
              <a:rPr lang="en-US" sz="1800" b="1" kern="1200">
                <a:solidFill>
                  <a:srgbClr val="0460A9"/>
                </a:solidFill>
                <a:effectLst/>
                <a:ea typeface="+mn-ea"/>
                <a:cs typeface="Arial" panose="020B0604020202020204" pitchFamily="34" charset="0"/>
              </a:rPr>
              <a:t>Sales prediction </a:t>
            </a: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is a </a:t>
            </a:r>
            <a:r>
              <a:rPr lang="en-US" sz="1800" b="1" kern="1200">
                <a:solidFill>
                  <a:srgbClr val="0460A9"/>
                </a:solidFill>
                <a:effectLst/>
                <a:ea typeface="+mn-ea"/>
                <a:cs typeface="Arial" panose="020B0604020202020204" pitchFamily="34" charset="0"/>
              </a:rPr>
              <a:t>monthly based forecast</a:t>
            </a: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Business needs to anticipate if a given country brand will over/under perform the expected targ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kern="1200">
                <a:solidFill>
                  <a:srgbClr val="0460A9"/>
                </a:solidFill>
                <a:effectLst/>
                <a:ea typeface="+mn-ea"/>
                <a:cs typeface="Arial" panose="020B0604020202020204" pitchFamily="34" charset="0"/>
              </a:rPr>
              <a:t>Daily Sales Phasing </a:t>
            </a: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is </a:t>
            </a:r>
            <a:r>
              <a:rPr lang="en-US" sz="1800">
                <a:solidFill>
                  <a:srgbClr val="000000"/>
                </a:solidFill>
                <a:cs typeface="Arial" panose="020B0604020202020204" pitchFamily="34" charset="0"/>
              </a:rPr>
              <a:t>defined as </a:t>
            </a:r>
            <a:r>
              <a:rPr lang="en-US" sz="1800" b="1" kern="1200">
                <a:solidFill>
                  <a:srgbClr val="0460A9"/>
                </a:solidFill>
                <a:effectLst/>
                <a:ea typeface="+mn-ea"/>
                <a:cs typeface="Arial" panose="020B0604020202020204" pitchFamily="34" charset="0"/>
              </a:rPr>
              <a:t>the ratio of the monthly sales </a:t>
            </a:r>
            <a:r>
              <a:rPr lang="en-US" sz="1800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for each working date (WD) within a mont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>
                <a:solidFill>
                  <a:srgbClr val="0460A9"/>
                </a:solidFill>
                <a:cs typeface="Arial" panose="020B0604020202020204" pitchFamily="34" charset="0"/>
              </a:rPr>
              <a:t>Sales are not equally distributed within a month</a:t>
            </a:r>
            <a:r>
              <a:rPr lang="en-US" sz="1800">
                <a:solidFill>
                  <a:srgbClr val="000000"/>
                </a:solidFill>
                <a:cs typeface="Arial" panose="020B0604020202020204" pitchFamily="34" charset="0"/>
              </a:rPr>
              <a:t>. The shipping patterns might differ for different countries and brands. Exampl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Country A: Daily shipping pattern depends mostly on the weekdays. For instance, drug A is mostly sold on Tuesdays and Thursdays and barely sold elsewher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1200">
                <a:solidFill>
                  <a:srgbClr val="000000"/>
                </a:solidFill>
                <a:effectLst/>
                <a:ea typeface="+mn-ea"/>
                <a:cs typeface="Arial" panose="020B0604020202020204" pitchFamily="34" charset="0"/>
              </a:rPr>
              <a:t>Country B: Daily shipping pattern is highly correlated on the working date number.</a:t>
            </a:r>
          </a:p>
        </p:txBody>
      </p:sp>
      <p:graphicFrame>
        <p:nvGraphicFramePr>
          <p:cNvPr id="7" name="Table 14">
            <a:extLst>
              <a:ext uri="{FF2B5EF4-FFF2-40B4-BE49-F238E27FC236}">
                <a16:creationId xmlns:a16="http://schemas.microsoft.com/office/drawing/2014/main" id="{ABDAF04D-CEF8-F947-661E-6FBF30F0F9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8922671"/>
              </p:ext>
            </p:extLst>
          </p:nvPr>
        </p:nvGraphicFramePr>
        <p:xfrm>
          <a:off x="6847398" y="1934603"/>
          <a:ext cx="4931460" cy="2115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955">
                  <a:extLst>
                    <a:ext uri="{9D8B030D-6E8A-4147-A177-3AD203B41FA5}">
                      <a16:colId xmlns:a16="http://schemas.microsoft.com/office/drawing/2014/main" val="4223232890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4276758266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4176092273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1164417009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1449390069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1039566835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1453072387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312015353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452539931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822438289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1479765319"/>
                    </a:ext>
                  </a:extLst>
                </a:gridCol>
                <a:gridCol w="410955">
                  <a:extLst>
                    <a:ext uri="{9D8B030D-6E8A-4147-A177-3AD203B41FA5}">
                      <a16:colId xmlns:a16="http://schemas.microsoft.com/office/drawing/2014/main" val="2279985884"/>
                    </a:ext>
                  </a:extLst>
                </a:gridCol>
              </a:tblGrid>
              <a:tr h="528914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2826854"/>
                  </a:ext>
                </a:extLst>
              </a:tr>
              <a:tr h="528914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688652"/>
                  </a:ext>
                </a:extLst>
              </a:tr>
              <a:tr h="528914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002185"/>
                  </a:ext>
                </a:extLst>
              </a:tr>
              <a:tr h="528914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8617082"/>
                  </a:ext>
                </a:extLst>
              </a:tr>
            </a:tbl>
          </a:graphicData>
        </a:graphic>
      </p:graphicFrame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E58892A-C2D5-A2B3-7CA6-0531013F147D}"/>
              </a:ext>
            </a:extLst>
          </p:cNvPr>
          <p:cNvSpPr/>
          <p:nvPr/>
        </p:nvSpPr>
        <p:spPr>
          <a:xfrm>
            <a:off x="6863300" y="1946643"/>
            <a:ext cx="4902979" cy="2041973"/>
          </a:xfrm>
          <a:custGeom>
            <a:avLst/>
            <a:gdLst>
              <a:gd name="connsiteX0" fmla="*/ 0 w 4902979"/>
              <a:gd name="connsiteY0" fmla="*/ 1985875 h 2041973"/>
              <a:gd name="connsiteX1" fmla="*/ 392687 w 4902979"/>
              <a:gd name="connsiteY1" fmla="*/ 2041973 h 2041973"/>
              <a:gd name="connsiteX2" fmla="*/ 796594 w 4902979"/>
              <a:gd name="connsiteY2" fmla="*/ 1817581 h 2041973"/>
              <a:gd name="connsiteX3" fmla="*/ 1211720 w 4902979"/>
              <a:gd name="connsiteY3" fmla="*/ 1710994 h 2041973"/>
              <a:gd name="connsiteX4" fmla="*/ 1621237 w 4902979"/>
              <a:gd name="connsiteY4" fmla="*/ 1368795 h 2041973"/>
              <a:gd name="connsiteX5" fmla="*/ 2036363 w 4902979"/>
              <a:gd name="connsiteY5" fmla="*/ 1447333 h 2041973"/>
              <a:gd name="connsiteX6" fmla="*/ 2451490 w 4902979"/>
              <a:gd name="connsiteY6" fmla="*/ 998548 h 2041973"/>
              <a:gd name="connsiteX7" fmla="*/ 2861006 w 4902979"/>
              <a:gd name="connsiteY7" fmla="*/ 869522 h 2041973"/>
              <a:gd name="connsiteX8" fmla="*/ 3253693 w 4902979"/>
              <a:gd name="connsiteY8" fmla="*/ 527323 h 2041973"/>
              <a:gd name="connsiteX9" fmla="*/ 3674430 w 4902979"/>
              <a:gd name="connsiteY9" fmla="*/ 1009767 h 2041973"/>
              <a:gd name="connsiteX10" fmla="*/ 4083946 w 4902979"/>
              <a:gd name="connsiteY10" fmla="*/ 134636 h 2041973"/>
              <a:gd name="connsiteX11" fmla="*/ 4499073 w 4902979"/>
              <a:gd name="connsiteY11" fmla="*/ 392687 h 2041973"/>
              <a:gd name="connsiteX12" fmla="*/ 4902979 w 4902979"/>
              <a:gd name="connsiteY12" fmla="*/ 0 h 2041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2979" h="2041973">
                <a:moveTo>
                  <a:pt x="0" y="1985875"/>
                </a:moveTo>
                <a:lnTo>
                  <a:pt x="392687" y="2041973"/>
                </a:lnTo>
                <a:lnTo>
                  <a:pt x="796594" y="1817581"/>
                </a:lnTo>
                <a:lnTo>
                  <a:pt x="1211720" y="1710994"/>
                </a:lnTo>
                <a:lnTo>
                  <a:pt x="1621237" y="1368795"/>
                </a:lnTo>
                <a:lnTo>
                  <a:pt x="2036363" y="1447333"/>
                </a:lnTo>
                <a:lnTo>
                  <a:pt x="2451490" y="998548"/>
                </a:lnTo>
                <a:lnTo>
                  <a:pt x="2861006" y="869522"/>
                </a:lnTo>
                <a:lnTo>
                  <a:pt x="3253693" y="527323"/>
                </a:lnTo>
                <a:lnTo>
                  <a:pt x="3674430" y="1009767"/>
                </a:lnTo>
                <a:lnTo>
                  <a:pt x="4083946" y="134636"/>
                </a:lnTo>
                <a:lnTo>
                  <a:pt x="4499073" y="392687"/>
                </a:lnTo>
                <a:lnTo>
                  <a:pt x="4902979" y="0"/>
                </a:lnTo>
              </a:path>
            </a:pathLst>
          </a:cu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767868-DE0C-B298-91CA-691D9E46D9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2869" y="4085744"/>
            <a:ext cx="4928771" cy="2319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D56E709-CF7B-DBA2-F2D0-96E225C2096A}"/>
              </a:ext>
            </a:extLst>
          </p:cNvPr>
          <p:cNvSpPr txBox="1"/>
          <p:nvPr/>
        </p:nvSpPr>
        <p:spPr>
          <a:xfrm rot="16200000">
            <a:off x="6159995" y="2804764"/>
            <a:ext cx="5549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0" i="0">
                <a:solidFill>
                  <a:srgbClr val="343541"/>
                </a:solidFill>
                <a:effectLst/>
                <a:latin typeface="Söhne"/>
              </a:rPr>
              <a:t>Sales</a:t>
            </a:r>
            <a:endParaRPr lang="en-GB" sz="14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7B4841-3013-025F-EBDE-7F8DE94A86CB}"/>
              </a:ext>
            </a:extLst>
          </p:cNvPr>
          <p:cNvSpPr/>
          <p:nvPr/>
        </p:nvSpPr>
        <p:spPr>
          <a:xfrm>
            <a:off x="7433615" y="5938018"/>
            <a:ext cx="123507" cy="533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15EFFE-E56E-5287-4598-DE3EC9CB0204}"/>
              </a:ext>
            </a:extLst>
          </p:cNvPr>
          <p:cNvSpPr/>
          <p:nvPr/>
        </p:nvSpPr>
        <p:spPr>
          <a:xfrm>
            <a:off x="7638776" y="6180534"/>
            <a:ext cx="123507" cy="29088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0600EB4-42B5-8A4A-5100-1D22D883DF8B}"/>
              </a:ext>
            </a:extLst>
          </p:cNvPr>
          <p:cNvSpPr/>
          <p:nvPr/>
        </p:nvSpPr>
        <p:spPr>
          <a:xfrm>
            <a:off x="7843937" y="5603651"/>
            <a:ext cx="123507" cy="86776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A90A51-C37A-82DD-8B0E-D2A1FB2F06AF}"/>
              </a:ext>
            </a:extLst>
          </p:cNvPr>
          <p:cNvSpPr/>
          <p:nvPr/>
        </p:nvSpPr>
        <p:spPr>
          <a:xfrm>
            <a:off x="8063037" y="5867337"/>
            <a:ext cx="123507" cy="60408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F70D23C-1810-B4E6-B7BD-C58CC8E4F734}"/>
              </a:ext>
            </a:extLst>
          </p:cNvPr>
          <p:cNvSpPr/>
          <p:nvPr/>
        </p:nvSpPr>
        <p:spPr>
          <a:xfrm>
            <a:off x="8270301" y="5938018"/>
            <a:ext cx="123507" cy="533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C8A280-5999-3ACC-9FC6-2BBF7EFA475B}"/>
              </a:ext>
            </a:extLst>
          </p:cNvPr>
          <p:cNvSpPr/>
          <p:nvPr/>
        </p:nvSpPr>
        <p:spPr>
          <a:xfrm>
            <a:off x="8475462" y="5772983"/>
            <a:ext cx="123507" cy="69843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003D6D-9E50-5AD5-2AD4-A002D5A47021}"/>
              </a:ext>
            </a:extLst>
          </p:cNvPr>
          <p:cNvSpPr/>
          <p:nvPr/>
        </p:nvSpPr>
        <p:spPr>
          <a:xfrm>
            <a:off x="8685685" y="5242143"/>
            <a:ext cx="123507" cy="122927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3DDB65-B96A-79AA-3933-910359506BCD}"/>
              </a:ext>
            </a:extLst>
          </p:cNvPr>
          <p:cNvSpPr/>
          <p:nvPr/>
        </p:nvSpPr>
        <p:spPr>
          <a:xfrm>
            <a:off x="8887887" y="5801047"/>
            <a:ext cx="123507" cy="67037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1CCDAA6-9C8A-4FB4-1050-1953158E2240}"/>
              </a:ext>
            </a:extLst>
          </p:cNvPr>
          <p:cNvSpPr/>
          <p:nvPr/>
        </p:nvSpPr>
        <p:spPr>
          <a:xfrm>
            <a:off x="9106131" y="5934090"/>
            <a:ext cx="123507" cy="533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23DEDB-02DD-3EC6-A52E-90182F88D7F8}"/>
              </a:ext>
            </a:extLst>
          </p:cNvPr>
          <p:cNvSpPr/>
          <p:nvPr/>
        </p:nvSpPr>
        <p:spPr>
          <a:xfrm>
            <a:off x="9327334" y="6002038"/>
            <a:ext cx="123507" cy="46545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FD08FFF-0EFB-B9BC-5418-D9662A9C5EA7}"/>
              </a:ext>
            </a:extLst>
          </p:cNvPr>
          <p:cNvSpPr/>
          <p:nvPr/>
        </p:nvSpPr>
        <p:spPr>
          <a:xfrm>
            <a:off x="9547553" y="5238217"/>
            <a:ext cx="123507" cy="122927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748714-F71A-C600-F460-8EDFCF4C9A6B}"/>
              </a:ext>
            </a:extLst>
          </p:cNvPr>
          <p:cNvSpPr/>
          <p:nvPr/>
        </p:nvSpPr>
        <p:spPr>
          <a:xfrm>
            <a:off x="9758632" y="6048541"/>
            <a:ext cx="123507" cy="41894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A6B29D0-D371-12B0-9EF9-A74882398352}"/>
              </a:ext>
            </a:extLst>
          </p:cNvPr>
          <p:cNvSpPr/>
          <p:nvPr/>
        </p:nvSpPr>
        <p:spPr>
          <a:xfrm>
            <a:off x="9965896" y="5699255"/>
            <a:ext cx="123507" cy="76823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6AC78CC-D367-4899-D78E-9F890E903648}"/>
              </a:ext>
            </a:extLst>
          </p:cNvPr>
          <p:cNvSpPr/>
          <p:nvPr/>
        </p:nvSpPr>
        <p:spPr>
          <a:xfrm>
            <a:off x="10171057" y="5801047"/>
            <a:ext cx="123507" cy="6664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9ABCA9A-279E-21CF-ACA6-650AC9C75B8D}"/>
              </a:ext>
            </a:extLst>
          </p:cNvPr>
          <p:cNvSpPr/>
          <p:nvPr/>
        </p:nvSpPr>
        <p:spPr>
          <a:xfrm>
            <a:off x="10373259" y="5352721"/>
            <a:ext cx="123507" cy="111476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E70605C-8D9A-5744-C993-01A07E05FDEF}"/>
              </a:ext>
            </a:extLst>
          </p:cNvPr>
          <p:cNvSpPr/>
          <p:nvPr/>
        </p:nvSpPr>
        <p:spPr>
          <a:xfrm>
            <a:off x="10591503" y="5735495"/>
            <a:ext cx="123507" cy="73199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66BF13C2-EB30-188D-53DE-3DFF997A8E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6759427"/>
              </p:ext>
            </p:extLst>
          </p:nvPr>
        </p:nvGraphicFramePr>
        <p:xfrm>
          <a:off x="7456272" y="6516711"/>
          <a:ext cx="2082800" cy="533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119074964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99157071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567354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158001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9401451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15959502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1229154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643982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5777463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6391306"/>
                    </a:ext>
                  </a:extLst>
                </a:gridCol>
              </a:tblGrid>
              <a:tr h="266792"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698449"/>
                  </a:ext>
                </a:extLst>
              </a:tr>
              <a:tr h="266792"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1820792"/>
                  </a:ext>
                </a:extLst>
              </a:tr>
            </a:tbl>
          </a:graphicData>
        </a:graphic>
      </p:graphicFrame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B3A55684-3779-AACA-E0C4-DA9181FE31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0635254"/>
              </p:ext>
            </p:extLst>
          </p:nvPr>
        </p:nvGraphicFramePr>
        <p:xfrm>
          <a:off x="9539072" y="6516711"/>
          <a:ext cx="2082800" cy="533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119074964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99157071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567354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158001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9401451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15959502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1229154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643982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57774635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6391306"/>
                    </a:ext>
                  </a:extLst>
                </a:gridCol>
              </a:tblGrid>
              <a:tr h="266792"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5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6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8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19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50" b="0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698449"/>
                  </a:ext>
                </a:extLst>
              </a:tr>
              <a:tr h="266792"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50" b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1820792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7917F4F8-F0CF-D45E-E97E-4BCE3BF26516}"/>
              </a:ext>
            </a:extLst>
          </p:cNvPr>
          <p:cNvSpPr/>
          <p:nvPr/>
        </p:nvSpPr>
        <p:spPr>
          <a:xfrm>
            <a:off x="10802390" y="5934090"/>
            <a:ext cx="123507" cy="533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DB7A0F1-6E32-FA7B-797A-AB4094C4A350}"/>
              </a:ext>
            </a:extLst>
          </p:cNvPr>
          <p:cNvSpPr/>
          <p:nvPr/>
        </p:nvSpPr>
        <p:spPr>
          <a:xfrm>
            <a:off x="11007551" y="6176606"/>
            <a:ext cx="123507" cy="29088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7BC928A-B489-88E4-E685-090FB356AA45}"/>
              </a:ext>
            </a:extLst>
          </p:cNvPr>
          <p:cNvSpPr/>
          <p:nvPr/>
        </p:nvSpPr>
        <p:spPr>
          <a:xfrm>
            <a:off x="11209753" y="5245421"/>
            <a:ext cx="123507" cy="122207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A60E31B-3272-5A5D-CCA8-FD8751348331}"/>
              </a:ext>
            </a:extLst>
          </p:cNvPr>
          <p:cNvSpPr/>
          <p:nvPr/>
        </p:nvSpPr>
        <p:spPr>
          <a:xfrm>
            <a:off x="11427997" y="5801047"/>
            <a:ext cx="123507" cy="6664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8240121-ABC4-30D1-F1F8-25A4F7E6F392}"/>
              </a:ext>
            </a:extLst>
          </p:cNvPr>
          <p:cNvCxnSpPr>
            <a:cxnSpLocks/>
          </p:cNvCxnSpPr>
          <p:nvPr/>
        </p:nvCxnSpPr>
        <p:spPr>
          <a:xfrm>
            <a:off x="7288175" y="6475106"/>
            <a:ext cx="43253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B26323E-12A7-857C-A4F9-A87209C403C7}"/>
              </a:ext>
            </a:extLst>
          </p:cNvPr>
          <p:cNvCxnSpPr>
            <a:cxnSpLocks/>
          </p:cNvCxnSpPr>
          <p:nvPr/>
        </p:nvCxnSpPr>
        <p:spPr>
          <a:xfrm>
            <a:off x="7288175" y="4928323"/>
            <a:ext cx="0" cy="15467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8716DBA9-322B-BFAB-C626-B49EA7D60A1F}"/>
              </a:ext>
            </a:extLst>
          </p:cNvPr>
          <p:cNvSpPr txBox="1"/>
          <p:nvPr/>
        </p:nvSpPr>
        <p:spPr>
          <a:xfrm>
            <a:off x="6733107" y="4797518"/>
            <a:ext cx="5020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0" i="0">
                <a:solidFill>
                  <a:srgbClr val="343541"/>
                </a:solidFill>
                <a:effectLst/>
                <a:latin typeface="Söhne"/>
              </a:rPr>
              <a:t>100%</a:t>
            </a:r>
            <a:endParaRPr lang="en-GB" sz="105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C66BFC8-20BF-2EFB-244C-A6498F4FBEC6}"/>
              </a:ext>
            </a:extLst>
          </p:cNvPr>
          <p:cNvSpPr txBox="1"/>
          <p:nvPr/>
        </p:nvSpPr>
        <p:spPr>
          <a:xfrm>
            <a:off x="6847398" y="6322048"/>
            <a:ext cx="3497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0" i="0">
                <a:solidFill>
                  <a:srgbClr val="343541"/>
                </a:solidFill>
                <a:effectLst/>
                <a:latin typeface="Söhne"/>
              </a:rPr>
              <a:t>0%</a:t>
            </a:r>
            <a:endParaRPr lang="en-GB" sz="105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B3AF49C-9116-0BFC-CF5B-25151934FE06}"/>
              </a:ext>
            </a:extLst>
          </p:cNvPr>
          <p:cNvSpPr txBox="1"/>
          <p:nvPr/>
        </p:nvSpPr>
        <p:spPr>
          <a:xfrm>
            <a:off x="9047055" y="6788685"/>
            <a:ext cx="91884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0" i="0">
                <a:solidFill>
                  <a:schemeClr val="bg2">
                    <a:lumMod val="50000"/>
                  </a:schemeClr>
                </a:solidFill>
                <a:effectLst/>
                <a:latin typeface="Söhne"/>
              </a:rPr>
              <a:t>Working Day</a:t>
            </a:r>
            <a:endParaRPr lang="en-GB" sz="105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820BFE4F-26A3-D74C-6992-EEA81265DC4F}"/>
              </a:ext>
            </a:extLst>
          </p:cNvPr>
          <p:cNvSpPr/>
          <p:nvPr/>
        </p:nvSpPr>
        <p:spPr>
          <a:xfrm>
            <a:off x="8310048" y="3167399"/>
            <a:ext cx="353631" cy="317098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6A5BFBB-BE49-8FD9-DE26-28A01B4B644F}"/>
              </a:ext>
            </a:extLst>
          </p:cNvPr>
          <p:cNvCxnSpPr>
            <a:cxnSpLocks/>
            <a:stCxn id="8" idx="4"/>
          </p:cNvCxnSpPr>
          <p:nvPr/>
        </p:nvCxnSpPr>
        <p:spPr>
          <a:xfrm flipH="1">
            <a:off x="6847398" y="3315438"/>
            <a:ext cx="163713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C2CA064C-8322-39EA-56A2-91CFD448B5EB}"/>
              </a:ext>
            </a:extLst>
          </p:cNvPr>
          <p:cNvSpPr txBox="1"/>
          <p:nvPr/>
        </p:nvSpPr>
        <p:spPr>
          <a:xfrm>
            <a:off x="6559303" y="3112541"/>
            <a:ext cx="311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i="0">
                <a:solidFill>
                  <a:srgbClr val="343541"/>
                </a:solidFill>
                <a:effectLst/>
                <a:latin typeface="Söhne"/>
              </a:rPr>
              <a:t>X</a:t>
            </a:r>
            <a:endParaRPr lang="en-GB" b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3C0A194-7EEB-E420-885C-6B6BC6420A21}"/>
              </a:ext>
            </a:extLst>
          </p:cNvPr>
          <p:cNvSpPr txBox="1"/>
          <p:nvPr/>
        </p:nvSpPr>
        <p:spPr>
          <a:xfrm>
            <a:off x="9089915" y="4607927"/>
            <a:ext cx="5549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0" i="0">
                <a:solidFill>
                  <a:srgbClr val="343541"/>
                </a:solidFill>
                <a:effectLst/>
                <a:latin typeface="Söhne"/>
              </a:rPr>
              <a:t>MAY</a:t>
            </a:r>
            <a:endParaRPr lang="en-GB" sz="14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08DFC6-CD64-B17E-1E7B-E4B83F0983F1}"/>
              </a:ext>
            </a:extLst>
          </p:cNvPr>
          <p:cNvSpPr txBox="1"/>
          <p:nvPr/>
        </p:nvSpPr>
        <p:spPr>
          <a:xfrm rot="16200000">
            <a:off x="6033509" y="5471891"/>
            <a:ext cx="8079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>
                <a:solidFill>
                  <a:srgbClr val="343541"/>
                </a:solidFill>
                <a:latin typeface="Söhne"/>
              </a:rPr>
              <a:t>P</a:t>
            </a:r>
            <a:r>
              <a:rPr lang="en-GB" sz="1400" err="1">
                <a:solidFill>
                  <a:srgbClr val="343541"/>
                </a:solidFill>
                <a:latin typeface="Söhne"/>
              </a:rPr>
              <a:t>hasing</a:t>
            </a: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376610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9" grpId="0" animBg="1"/>
      <p:bldP spid="30" grpId="0" animBg="1"/>
      <p:bldP spid="31" grpId="0" animBg="1"/>
      <p:bldP spid="32" grpId="0" animBg="1"/>
      <p:bldP spid="36" grpId="0"/>
      <p:bldP spid="37" grpId="0"/>
      <p:bldP spid="40" grpId="0" animBg="1"/>
      <p:bldP spid="42" grpId="0"/>
      <p:bldP spid="2" grpId="0"/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996FF48A-AEC5-548B-62F6-ED657E899CC2}"/>
              </a:ext>
            </a:extLst>
          </p:cNvPr>
          <p:cNvSpPr txBox="1">
            <a:spLocks/>
          </p:cNvSpPr>
          <p:nvPr/>
        </p:nvSpPr>
        <p:spPr>
          <a:xfrm>
            <a:off x="622513" y="1332573"/>
            <a:ext cx="6935470" cy="731838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B34534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n-US" sz="3000"/>
              <a:t>Challen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160672-9B86-39C3-4757-D8D90900EAC6}"/>
              </a:ext>
            </a:extLst>
          </p:cNvPr>
          <p:cNvSpPr/>
          <p:nvPr/>
        </p:nvSpPr>
        <p:spPr>
          <a:xfrm>
            <a:off x="914400" y="2192423"/>
            <a:ext cx="10291406" cy="73183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>
                <a:solidFill>
                  <a:schemeClr val="tx1"/>
                </a:solidFill>
              </a:rPr>
              <a:t>Splitting monthly sales into working day phasing</a:t>
            </a:r>
          </a:p>
        </p:txBody>
      </p:sp>
    </p:spTree>
    <p:extLst>
      <p:ext uri="{BB962C8B-B14F-4D97-AF65-F5344CB8AC3E}">
        <p14:creationId xmlns:p14="http://schemas.microsoft.com/office/powerpoint/2010/main" val="2167353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58949-72E2-732E-B8F6-F1DFA9F27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Business </a:t>
            </a:r>
            <a:r>
              <a:rPr lang="es-ES" err="1"/>
              <a:t>challenge</a:t>
            </a:r>
            <a:endParaRPr lang="es-ES"/>
          </a:p>
        </p:txBody>
      </p:sp>
      <p:sp>
        <p:nvSpPr>
          <p:cNvPr id="5" name="Marcador de texto 5">
            <a:extLst>
              <a:ext uri="{FF2B5EF4-FFF2-40B4-BE49-F238E27FC236}">
                <a16:creationId xmlns:a16="http://schemas.microsoft.com/office/drawing/2014/main" id="{BD49C322-0481-AEB5-8EFF-D0A79DD7638B}"/>
              </a:ext>
            </a:extLst>
          </p:cNvPr>
          <p:cNvSpPr txBox="1">
            <a:spLocks/>
          </p:cNvSpPr>
          <p:nvPr/>
        </p:nvSpPr>
        <p:spPr>
          <a:xfrm>
            <a:off x="391160" y="2057718"/>
            <a:ext cx="10886440" cy="35493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The challenge has a </a:t>
            </a:r>
            <a:r>
              <a:rPr lang="en-GB" sz="2000" b="1">
                <a:solidFill>
                  <a:schemeClr val="accent1">
                    <a:lumMod val="50000"/>
                  </a:schemeClr>
                </a:solidFill>
              </a:rPr>
              <a:t>strong business component</a:t>
            </a: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accent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It is not only about how you solve the problem, but also about </a:t>
            </a:r>
            <a:r>
              <a:rPr lang="en-GB" sz="2000" b="1">
                <a:solidFill>
                  <a:schemeClr val="accent1">
                    <a:lumMod val="50000"/>
                  </a:schemeClr>
                </a:solidFill>
              </a:rPr>
              <a:t>why</a:t>
            </a: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 you solved it this way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The </a:t>
            </a:r>
            <a:r>
              <a:rPr lang="en-GB" sz="2000" b="1">
                <a:solidFill>
                  <a:schemeClr val="accent1">
                    <a:lumMod val="50000"/>
                  </a:schemeClr>
                </a:solidFill>
              </a:rPr>
              <a:t>end user of the forecast is a business team</a:t>
            </a: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. So, your solution needs to be clear and preferably explainab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The </a:t>
            </a:r>
            <a:r>
              <a:rPr lang="en-GB" sz="2000" b="1">
                <a:solidFill>
                  <a:schemeClr val="accent1">
                    <a:lumMod val="50000"/>
                  </a:schemeClr>
                </a:solidFill>
              </a:rPr>
              <a:t>top 3 teams</a:t>
            </a: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 will be selected based on their presentation to a jur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accent1">
                    <a:lumMod val="50000"/>
                  </a:schemeClr>
                </a:solidFill>
              </a:rPr>
              <a:t>The jury members’ background is mixed between technical and business. </a:t>
            </a:r>
          </a:p>
        </p:txBody>
      </p:sp>
    </p:spTree>
    <p:extLst>
      <p:ext uri="{BB962C8B-B14F-4D97-AF65-F5344CB8AC3E}">
        <p14:creationId xmlns:p14="http://schemas.microsoft.com/office/powerpoint/2010/main" val="1305412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441E7-C4CB-DB11-D3BB-E4C475BBA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err="1"/>
              <a:t>Technical</a:t>
            </a:r>
            <a:r>
              <a:rPr lang="es-ES"/>
              <a:t> </a:t>
            </a:r>
            <a:r>
              <a:rPr lang="es-ES" err="1"/>
              <a:t>challeng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EAF511-F69A-04CB-04EA-2C5CAED208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1690" y="2065867"/>
            <a:ext cx="7265327" cy="3392953"/>
          </a:xfrm>
        </p:spPr>
        <p:txBody>
          <a:bodyPr/>
          <a:lstStyle/>
          <a:p>
            <a:r>
              <a:rPr lang="es-ES" err="1"/>
              <a:t>Predict</a:t>
            </a:r>
            <a:r>
              <a:rPr lang="es-ES"/>
              <a:t> </a:t>
            </a:r>
            <a:r>
              <a:rPr lang="es-ES" err="1"/>
              <a:t>the</a:t>
            </a:r>
            <a:r>
              <a:rPr lang="es-ES"/>
              <a:t> </a:t>
            </a:r>
            <a:r>
              <a:rPr lang="es-ES" b="1" err="1"/>
              <a:t>daily</a:t>
            </a:r>
            <a:r>
              <a:rPr lang="es-ES" b="1"/>
              <a:t> </a:t>
            </a:r>
            <a:r>
              <a:rPr lang="es-ES" b="1" err="1"/>
              <a:t>phasing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each</a:t>
            </a:r>
            <a:r>
              <a:rPr lang="es-ES"/>
              <a:t> </a:t>
            </a:r>
            <a:r>
              <a:rPr lang="es-ES" err="1"/>
              <a:t>brand</a:t>
            </a:r>
            <a:r>
              <a:rPr lang="es-ES"/>
              <a:t> in </a:t>
            </a:r>
            <a:r>
              <a:rPr lang="es-ES" err="1"/>
              <a:t>the</a:t>
            </a:r>
            <a:r>
              <a:rPr lang="es-ES"/>
              <a:t> test-se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each</a:t>
            </a:r>
            <a:r>
              <a:rPr lang="es-ES"/>
              <a:t> </a:t>
            </a:r>
            <a:r>
              <a:rPr lang="es-ES" err="1"/>
              <a:t>month</a:t>
            </a:r>
            <a:r>
              <a:rPr lang="es-ES"/>
              <a:t> in </a:t>
            </a:r>
            <a:r>
              <a:rPr lang="es-ES" err="1"/>
              <a:t>the</a:t>
            </a:r>
            <a:r>
              <a:rPr lang="es-ES"/>
              <a:t> </a:t>
            </a:r>
            <a:r>
              <a:rPr lang="es-ES" err="1"/>
              <a:t>year</a:t>
            </a:r>
            <a:r>
              <a:rPr lang="es-ES"/>
              <a:t> 2022.</a:t>
            </a:r>
          </a:p>
          <a:p>
            <a:endParaRPr lang="es-ES"/>
          </a:p>
          <a:p>
            <a:r>
              <a:rPr lang="es-ES" b="1" err="1"/>
              <a:t>Leverage</a:t>
            </a:r>
            <a:r>
              <a:rPr lang="es-ES" b="1"/>
              <a:t> </a:t>
            </a:r>
            <a:r>
              <a:rPr lang="es-ES" b="1" err="1"/>
              <a:t>historical</a:t>
            </a:r>
            <a:r>
              <a:rPr lang="es-ES" b="1"/>
              <a:t> </a:t>
            </a:r>
            <a:r>
              <a:rPr lang="es-ES" b="1" err="1"/>
              <a:t>information</a:t>
            </a:r>
            <a:r>
              <a:rPr lang="es-ES"/>
              <a:t> </a:t>
            </a:r>
            <a:r>
              <a:rPr lang="es-ES" err="1"/>
              <a:t>from</a:t>
            </a:r>
            <a:r>
              <a:rPr lang="es-ES"/>
              <a:t> 2013-2021.</a:t>
            </a:r>
          </a:p>
          <a:p>
            <a:endParaRPr lang="es-ES"/>
          </a:p>
          <a:p>
            <a:r>
              <a:rPr lang="es-ES" b="1"/>
              <a:t>Top 5 </a:t>
            </a:r>
            <a:r>
              <a:rPr lang="es-ES" b="1" err="1"/>
              <a:t>best</a:t>
            </a:r>
            <a:r>
              <a:rPr lang="es-ES" b="1"/>
              <a:t> </a:t>
            </a:r>
            <a:r>
              <a:rPr lang="es-ES" b="1" err="1"/>
              <a:t>metrics</a:t>
            </a:r>
            <a:r>
              <a:rPr lang="es-ES"/>
              <a:t> </a:t>
            </a:r>
            <a:r>
              <a:rPr lang="es-ES" err="1"/>
              <a:t>will</a:t>
            </a:r>
            <a:r>
              <a:rPr lang="es-ES"/>
              <a:t> </a:t>
            </a:r>
            <a:r>
              <a:rPr lang="es-ES" err="1"/>
              <a:t>proceed</a:t>
            </a:r>
            <a:r>
              <a:rPr lang="es-ES"/>
              <a:t> </a:t>
            </a:r>
            <a:r>
              <a:rPr lang="es-ES" err="1"/>
              <a:t>to</a:t>
            </a:r>
            <a:r>
              <a:rPr lang="es-ES"/>
              <a:t> </a:t>
            </a:r>
            <a:r>
              <a:rPr lang="es-ES" err="1"/>
              <a:t>the</a:t>
            </a:r>
            <a:r>
              <a:rPr lang="es-ES"/>
              <a:t> </a:t>
            </a:r>
            <a:r>
              <a:rPr lang="es-ES" err="1"/>
              <a:t>business</a:t>
            </a:r>
            <a:r>
              <a:rPr lang="es-ES"/>
              <a:t> </a:t>
            </a:r>
            <a:r>
              <a:rPr lang="es-ES" err="1"/>
              <a:t>challenge</a:t>
            </a:r>
            <a:r>
              <a:rPr lang="es-E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01513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323BD495-72D1-1584-4DC2-81320AA59B0F}"/>
              </a:ext>
            </a:extLst>
          </p:cNvPr>
          <p:cNvSpPr txBox="1">
            <a:spLocks/>
          </p:cNvSpPr>
          <p:nvPr/>
        </p:nvSpPr>
        <p:spPr>
          <a:xfrm>
            <a:off x="835097" y="1350095"/>
            <a:ext cx="6935470" cy="73183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B34534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s-ES"/>
              <a:t>Data</a:t>
            </a:r>
            <a:endParaRPr lang="en-GB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0C70DF59-084A-F936-EF28-E9959E9ED218}"/>
              </a:ext>
            </a:extLst>
          </p:cNvPr>
          <p:cNvSpPr txBox="1">
            <a:spLocks/>
          </p:cNvSpPr>
          <p:nvPr/>
        </p:nvSpPr>
        <p:spPr>
          <a:xfrm>
            <a:off x="833122" y="2216727"/>
            <a:ext cx="5632334" cy="385156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1630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1630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1630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630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1630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latin typeface="Arial"/>
                <a:cs typeface="Arial"/>
              </a:rPr>
              <a:t>All the data is provided in a single </a:t>
            </a:r>
            <a:r>
              <a:rPr lang="en-GB" err="1">
                <a:latin typeface="Arial"/>
                <a:cs typeface="Arial"/>
              </a:rPr>
              <a:t>dataframe</a:t>
            </a:r>
            <a:r>
              <a:rPr lang="en-GB">
                <a:latin typeface="Arial"/>
                <a:cs typeface="Arial"/>
              </a:rPr>
              <a:t>, with features divided into:</a:t>
            </a:r>
          </a:p>
          <a:p>
            <a:pPr lvl="1"/>
            <a:r>
              <a:rPr lang="en-GB">
                <a:latin typeface="Arial"/>
                <a:cs typeface="Arial"/>
              </a:rPr>
              <a:t>Identifiers</a:t>
            </a:r>
          </a:p>
          <a:p>
            <a:pPr lvl="1"/>
            <a:r>
              <a:rPr lang="en-GB">
                <a:latin typeface="Arial"/>
                <a:cs typeface="Arial"/>
              </a:rPr>
              <a:t>Calendar related</a:t>
            </a:r>
          </a:p>
          <a:p>
            <a:pPr lvl="1"/>
            <a:r>
              <a:rPr lang="en-GB">
                <a:latin typeface="Arial"/>
                <a:cs typeface="Arial"/>
              </a:rPr>
              <a:t>Business related</a:t>
            </a:r>
          </a:p>
          <a:p>
            <a:pPr lvl="1"/>
            <a:r>
              <a:rPr lang="en-GB">
                <a:latin typeface="Arial"/>
                <a:cs typeface="Arial"/>
              </a:rPr>
              <a:t>Target &amp; auxiliar</a:t>
            </a:r>
          </a:p>
        </p:txBody>
      </p:sp>
    </p:spTree>
    <p:extLst>
      <p:ext uri="{BB962C8B-B14F-4D97-AF65-F5344CB8AC3E}">
        <p14:creationId xmlns:p14="http://schemas.microsoft.com/office/powerpoint/2010/main" val="40069572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4C86A203-E1A7-5DEC-5D90-ED507193D5D4}"/>
              </a:ext>
            </a:extLst>
          </p:cNvPr>
          <p:cNvSpPr txBox="1">
            <a:spLocks/>
          </p:cNvSpPr>
          <p:nvPr/>
        </p:nvSpPr>
        <p:spPr>
          <a:xfrm>
            <a:off x="446578" y="1654333"/>
            <a:ext cx="5262879" cy="35493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Brand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Brand of the drug being so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Country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Country in which the drug is being sol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>
                <a:solidFill>
                  <a:schemeClr val="accent1">
                    <a:lumMod val="75000"/>
                  </a:schemeClr>
                </a:solidFill>
              </a:rPr>
              <a:t>Date: </a:t>
            </a:r>
            <a:r>
              <a:rPr lang="en-GB" sz="2000">
                <a:solidFill>
                  <a:schemeClr val="accent1">
                    <a:lumMod val="75000"/>
                  </a:schemeClr>
                </a:solidFill>
              </a:rPr>
              <a:t>Date in format DD/MM/YYYY.</a:t>
            </a:r>
            <a:endParaRPr lang="en-GB" sz="2000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7B624630-69EE-CC5A-D3F8-618BB63A4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229" y="1351941"/>
            <a:ext cx="6935470" cy="731838"/>
          </a:xfrm>
        </p:spPr>
        <p:txBody>
          <a:bodyPr/>
          <a:lstStyle/>
          <a:p>
            <a:r>
              <a:rPr lang="es-ES"/>
              <a:t>Data </a:t>
            </a:r>
            <a:r>
              <a:rPr lang="es-ES" err="1"/>
              <a:t>identifiers</a:t>
            </a:r>
            <a:endParaRPr lang="en-GB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B334DC7-9C37-53C4-8FA6-15DC398B68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5962135"/>
              </p:ext>
            </p:extLst>
          </p:nvPr>
        </p:nvGraphicFramePr>
        <p:xfrm>
          <a:off x="6557818" y="2039477"/>
          <a:ext cx="3999347" cy="2733012"/>
        </p:xfrm>
        <a:graphic>
          <a:graphicData uri="http://schemas.openxmlformats.org/drawingml/2006/table">
            <a:tbl>
              <a:tblPr/>
              <a:tblGrid>
                <a:gridCol w="1389936">
                  <a:extLst>
                    <a:ext uri="{9D8B030D-6E8A-4147-A177-3AD203B41FA5}">
                      <a16:colId xmlns:a16="http://schemas.microsoft.com/office/drawing/2014/main" val="1529572320"/>
                    </a:ext>
                  </a:extLst>
                </a:gridCol>
                <a:gridCol w="1389936">
                  <a:extLst>
                    <a:ext uri="{9D8B030D-6E8A-4147-A177-3AD203B41FA5}">
                      <a16:colId xmlns:a16="http://schemas.microsoft.com/office/drawing/2014/main" val="777414114"/>
                    </a:ext>
                  </a:extLst>
                </a:gridCol>
                <a:gridCol w="1219475">
                  <a:extLst>
                    <a:ext uri="{9D8B030D-6E8A-4147-A177-3AD203B41FA5}">
                      <a16:colId xmlns:a16="http://schemas.microsoft.com/office/drawing/2014/main" val="3345390701"/>
                    </a:ext>
                  </a:extLst>
                </a:gridCol>
              </a:tblGrid>
              <a:tr h="61128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b="1" i="0">
                          <a:solidFill>
                            <a:srgbClr val="0460A9"/>
                          </a:solidFill>
                          <a:effectLst/>
                          <a:latin typeface="Arial" panose="020B0604020202020204" pitchFamily="34" charset="0"/>
                        </a:rPr>
                        <a:t>brand</a:t>
                      </a:r>
                      <a:endParaRPr lang="en-US" sz="1600" b="1" i="0">
                        <a:solidFill>
                          <a:srgbClr val="0460A9"/>
                        </a:solidFill>
                        <a:effectLst/>
                      </a:endParaRP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b="1" i="0">
                          <a:solidFill>
                            <a:srgbClr val="0460A9"/>
                          </a:solidFill>
                          <a:effectLst/>
                        </a:rPr>
                        <a:t>country</a:t>
                      </a: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s-ES" sz="1600" b="1" i="0">
                          <a:solidFill>
                            <a:srgbClr val="0460A9"/>
                          </a:solidFill>
                          <a:effectLst/>
                          <a:latin typeface="Arial" panose="020B0604020202020204" pitchFamily="34" charset="0"/>
                        </a:rPr>
                        <a:t>Date</a:t>
                      </a:r>
                      <a:endParaRPr lang="es-ES" sz="1600" b="1" i="0">
                        <a:solidFill>
                          <a:srgbClr val="0460A9"/>
                        </a:solidFill>
                        <a:effectLst/>
                      </a:endParaRPr>
                    </a:p>
                  </a:txBody>
                  <a:tcPr marL="88719" marR="88719" marT="44359" marB="4435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5080042"/>
                  </a:ext>
                </a:extLst>
              </a:tr>
              <a:tr h="530431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_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ry_3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01/2018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0460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465350"/>
                  </a:ext>
                </a:extLst>
              </a:tr>
              <a:tr h="530431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_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ry_3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01/2018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582309"/>
                  </a:ext>
                </a:extLst>
              </a:tr>
              <a:tr h="530431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_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ry_3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01/2018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3862852"/>
                  </a:ext>
                </a:extLst>
              </a:tr>
              <a:tr h="530431"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_1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ry_3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01/2018</a:t>
                      </a:r>
                    </a:p>
                  </a:txBody>
                  <a:tcPr marL="6350" marR="6350" marT="635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8215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9849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6d89abc-668e-4260-a6b1-54184db1df4b" xsi:nil="true"/>
    <lcf76f155ced4ddcb4097134ff3c332f xmlns="2c2f5be3-714a-4a2e-b0ab-93b752c887c5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3F62D7E190C14D830624DB1975F052" ma:contentTypeVersion="13" ma:contentTypeDescription="Create a new document." ma:contentTypeScope="" ma:versionID="bd644e083cf754a21778efb9f8995e5d">
  <xsd:schema xmlns:xsd="http://www.w3.org/2001/XMLSchema" xmlns:xs="http://www.w3.org/2001/XMLSchema" xmlns:p="http://schemas.microsoft.com/office/2006/metadata/properties" xmlns:ns2="2c2f5be3-714a-4a2e-b0ab-93b752c887c5" xmlns:ns3="d6d89abc-668e-4260-a6b1-54184db1df4b" targetNamespace="http://schemas.microsoft.com/office/2006/metadata/properties" ma:root="true" ma:fieldsID="0f06d75b2723c4ad0765b4407b454d87" ns2:_="" ns3:_="">
    <xsd:import namespace="2c2f5be3-714a-4a2e-b0ab-93b752c887c5"/>
    <xsd:import namespace="d6d89abc-668e-4260-a6b1-54184db1df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2f5be3-714a-4a2e-b0ab-93b752c887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a0fcc97-24f9-4737-ad45-7ffa50775cd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d89abc-668e-4260-a6b1-54184db1df4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3784d77-588c-4aa6-8ce9-b85a1be291fb}" ma:internalName="TaxCatchAll" ma:showField="CatchAllData" ma:web="d6d89abc-668e-4260-a6b1-54184db1df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647C705-97B5-4852-B955-53B5C6688E36}">
  <ds:schemaRefs>
    <ds:schemaRef ds:uri="2c2f5be3-714a-4a2e-b0ab-93b752c887c5"/>
    <ds:schemaRef ds:uri="d6d89abc-668e-4260-a6b1-54184db1df4b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C76A4C2-34DB-44B9-8091-4B54E5A8B15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6B959DC-4199-43ED-BCE3-72FEF20BCC8A}">
  <ds:schemaRefs>
    <ds:schemaRef ds:uri="2c2f5be3-714a-4a2e-b0ab-93b752c887c5"/>
    <ds:schemaRef ds:uri="d6d89abc-668e-4260-a6b1-54184db1df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36</Slides>
  <Notes>8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Tema de Office</vt:lpstr>
      <vt:lpstr>Tema de Office</vt:lpstr>
      <vt:lpstr>PowerPoint Presentation</vt:lpstr>
      <vt:lpstr>PowerPoint Presentation</vt:lpstr>
      <vt:lpstr>BCN Digital Finance Hub</vt:lpstr>
      <vt:lpstr>PowerPoint Presentation</vt:lpstr>
      <vt:lpstr>PowerPoint Presentation</vt:lpstr>
      <vt:lpstr>Business challenge</vt:lpstr>
      <vt:lpstr>Technical challenge</vt:lpstr>
      <vt:lpstr>PowerPoint Presentation</vt:lpstr>
      <vt:lpstr>Data identifiers</vt:lpstr>
      <vt:lpstr>Calendar features</vt:lpstr>
      <vt:lpstr>Business features</vt:lpstr>
      <vt:lpstr>Hints</vt:lpstr>
      <vt:lpstr>Target &amp; auxiliar features</vt:lpstr>
      <vt:lpstr>Accuracy Metric:   </vt:lpstr>
      <vt:lpstr>PowerPoint Presentation</vt:lpstr>
      <vt:lpstr>Technical part</vt:lpstr>
      <vt:lpstr>Communication Channel</vt:lpstr>
      <vt:lpstr>Communication Channel</vt:lpstr>
      <vt:lpstr>Communication Channel – Private communication</vt:lpstr>
      <vt:lpstr>Communication Channel</vt:lpstr>
      <vt:lpstr>Communication Channel – General communication</vt:lpstr>
      <vt:lpstr>Download data</vt:lpstr>
      <vt:lpstr>Download data</vt:lpstr>
      <vt:lpstr>Download data</vt:lpstr>
      <vt:lpstr>Submit presentation &amp; code TOP 5</vt:lpstr>
      <vt:lpstr>Communication Channel – General communication</vt:lpstr>
      <vt:lpstr>Platform login</vt:lpstr>
      <vt:lpstr>How to submit results – Change the password</vt:lpstr>
      <vt:lpstr>How to submit results – Submission</vt:lpstr>
      <vt:lpstr>How to submit results – Ranking checkpoints</vt:lpstr>
      <vt:lpstr>How to submit results – History of submissions</vt:lpstr>
      <vt:lpstr>How to submit results – Final submission (last hour)</vt:lpstr>
      <vt:lpstr>How to submit results</vt:lpstr>
      <vt:lpstr>Show results</vt:lpstr>
      <vt:lpstr>Submit presentation &amp; code TOP 5</vt:lpstr>
      <vt:lpstr>Agen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crosoft Office User</dc:creator>
  <cp:revision>1</cp:revision>
  <dcterms:created xsi:type="dcterms:W3CDTF">2023-08-11T07:10:17Z</dcterms:created>
  <dcterms:modified xsi:type="dcterms:W3CDTF">2023-11-24T14:0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1T13:23:46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043659db-4897-47ef-ba31-36bf177f342c</vt:lpwstr>
  </property>
  <property fmtid="{D5CDD505-2E9C-101B-9397-08002B2CF9AE}" pid="8" name="MSIP_Label_3c9bec58-8084-492e-8360-0e1cfe36408c_ContentBits">
    <vt:lpwstr>0</vt:lpwstr>
  </property>
  <property fmtid="{D5CDD505-2E9C-101B-9397-08002B2CF9AE}" pid="9" name="ContentTypeId">
    <vt:lpwstr>0x010100C53F62D7E190C14D830624DB1975F052</vt:lpwstr>
  </property>
  <property fmtid="{D5CDD505-2E9C-101B-9397-08002B2CF9AE}" pid="10" name="MediaServiceImageTags">
    <vt:lpwstr/>
  </property>
</Properties>
</file>